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4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099" r:id="rId5"/>
    <p:sldMasterId id="2147484249" r:id="rId6"/>
    <p:sldMasterId id="2147485447" r:id="rId7"/>
    <p:sldMasterId id="2147485608" r:id="rId8"/>
  </p:sldMasterIdLst>
  <p:notesMasterIdLst>
    <p:notesMasterId r:id="rId32"/>
  </p:notesMasterIdLst>
  <p:sldIdLst>
    <p:sldId id="2147479540" r:id="rId9"/>
    <p:sldId id="1661" r:id="rId10"/>
    <p:sldId id="317" r:id="rId11"/>
    <p:sldId id="289" r:id="rId12"/>
    <p:sldId id="282" r:id="rId13"/>
    <p:sldId id="286" r:id="rId14"/>
    <p:sldId id="2147483575" r:id="rId15"/>
    <p:sldId id="2147483579" r:id="rId16"/>
    <p:sldId id="297" r:id="rId17"/>
    <p:sldId id="313" r:id="rId18"/>
    <p:sldId id="314" r:id="rId19"/>
    <p:sldId id="268" r:id="rId20"/>
    <p:sldId id="269" r:id="rId21"/>
    <p:sldId id="312" r:id="rId22"/>
    <p:sldId id="270" r:id="rId23"/>
    <p:sldId id="308" r:id="rId24"/>
    <p:sldId id="275" r:id="rId25"/>
    <p:sldId id="305" r:id="rId26"/>
    <p:sldId id="273" r:id="rId27"/>
    <p:sldId id="283" r:id="rId28"/>
    <p:sldId id="279" r:id="rId29"/>
    <p:sldId id="295" r:id="rId30"/>
    <p:sldId id="278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4BF7297A-A944-43CC-B6BA-2DB95A79C554}">
          <p14:sldIdLst>
            <p14:sldId id="2147479540"/>
            <p14:sldId id="1661"/>
          </p14:sldIdLst>
        </p14:section>
        <p14:section name="Intro" id="{E30109DC-5CFD-4710-A75E-6A342C3BD7FD}">
          <p14:sldIdLst>
            <p14:sldId id="317"/>
            <p14:sldId id="289"/>
            <p14:sldId id="282"/>
            <p14:sldId id="286"/>
            <p14:sldId id="2147483575"/>
            <p14:sldId id="2147483579"/>
          </p14:sldIdLst>
        </p14:section>
        <p14:section name="Bridge" id="{9BEAA352-FA36-4F2C-9678-6545BDAA27FD}">
          <p14:sldIdLst>
            <p14:sldId id="297"/>
            <p14:sldId id="313"/>
            <p14:sldId id="314"/>
            <p14:sldId id="268"/>
          </p14:sldIdLst>
        </p14:section>
        <p14:section name="Plan &amp; Build" id="{86DD448E-6453-492B-A683-ED9578CA36FE}">
          <p14:sldIdLst>
            <p14:sldId id="269"/>
            <p14:sldId id="312"/>
            <p14:sldId id="270"/>
            <p14:sldId id="308"/>
          </p14:sldIdLst>
        </p14:section>
        <p14:section name="Evaluate &amp; Test" id="{5D17839B-CCF8-4BEF-8C98-51D4AE86742C}">
          <p14:sldIdLst>
            <p14:sldId id="275"/>
            <p14:sldId id="305"/>
            <p14:sldId id="273"/>
          </p14:sldIdLst>
        </p14:section>
        <p14:section name="Deploy &amp; Manage" id="{C5285CD9-AB28-4053-9131-F0F3A8E7A95F}">
          <p14:sldIdLst>
            <p14:sldId id="283"/>
            <p14:sldId id="279"/>
            <p14:sldId id="295"/>
            <p14:sldId id="2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FA35013-8844-9955-E808-17B04A11CE87}" name="Chhavi Nijhawan" initials="CN" userId="S::cnijhawan@microsoft.com::cb95afa5-bf3b-4a15-a454-04f1a4687767" providerId="AD"/>
  <p188:author id="{DC567D15-69EA-7D8B-8CEA-B36732BF40E6}" name="Katelyn Rothney" initials="KR" userId="S::krothney@microsoft.com::957d6278-3e11-4e56-b974-86c79acf98d3" providerId="AD"/>
  <p188:author id="{63430C28-FEEB-4CD9-696E-E62B5574B793}" name="Daniela Villarreal" initials="DV" userId="S::davillarreal@microsoft.com::9e7c6d12-1693-432a-a03e-39da2fc30d2c" providerId="AD"/>
  <p188:author id="{AD69FC2D-D3C6-9269-C9DF-27F52E3639B0}" name="Brian Robinson (CELA)" initials="B(" userId="S::brirobinson@microsoft.com::e9e6b3f7-39b7-4613-b8f1-ce1c92411918" providerId="AD"/>
  <p188:author id="{0FB41745-652E-2147-2A4A-50176497E60F}" name="Keyuna Evans (CELA)" initials="K(" userId="S::keevans@microsoft.com::653310ed-6ca1-49d8-8b9c-3ff545fb456e" providerId="AD"/>
  <p188:author id="{3A2A997C-07D8-D920-6B60-FB52A63ABA93}" name="Richard Tso" initials="RT" userId="S::richardtso@microsoft.com::687f6cb7-5b89-4233-8814-1ae293480cf2" providerId="AD"/>
  <p188:author id="{029BBA9C-7C8E-D4FC-419B-D07A082BA1CE}" name="Tina Ying" initials="TY" userId="S::juying@microsoft.com::1da9fe39-9117-4426-a723-84e692e91d64" providerId="AD"/>
  <p188:author id="{DB240AB5-5075-F2B6-CB29-ED89C7F443E0}" name="Courtney Brewer" initials="CB" userId="S::cobrewer@microsoft.com::626e6965-4ba5-40a4-9f1e-e602d2a30d97" providerId="AD"/>
  <p188:author id="{0F72D5B9-6339-CA70-9909-349F7BED102B}" name="Adrienne Krefft" initials="AK" userId="S::adkrefft@microsoft.com::5324d489-71df-426f-9522-b8707af7c6b7" providerId="AD"/>
  <p188:author id="{B2ED05C1-21B2-8E40-61EB-03D43EEACB73}" name="Neta Haiby" initials="NH" userId="S::netahw@microsoft.com::540ef928-82f8-4aa6-804b-1f6e44502b9c" providerId="AD"/>
  <p188:author id="{D1E161CD-CFBE-C438-6009-2385097049D2}" name="Ned Locke (CELA)" initials="NL" userId="S::nedlocke@microsoft.com::e19e54ad-45db-4f3a-8f21-713c4dae2f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9D5ED"/>
    <a:srgbClr val="2A446F"/>
    <a:srgbClr val="DEF1FA"/>
    <a:srgbClr val="B3DEF3"/>
    <a:srgbClr val="BFBFBF"/>
    <a:srgbClr val="FFB2B2"/>
    <a:srgbClr val="FFF0F1"/>
    <a:srgbClr val="FFFFFF"/>
    <a:srgbClr val="FCC7CD"/>
    <a:srgbClr val="E8F4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284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oana Tanase" userId="419b098c-e309-4f8f-a18c-4767178eace9" providerId="ADAL" clId="{EE5D3463-F4BC-406B-BAC8-98AC24AF348A}"/>
    <pc:docChg chg="delSld delSection modSection">
      <pc:chgData name="Ioana Tanase" userId="419b098c-e309-4f8f-a18c-4767178eace9" providerId="ADAL" clId="{EE5D3463-F4BC-406B-BAC8-98AC24AF348A}" dt="2025-05-23T11:20:35.047" v="4" actId="17851"/>
      <pc:docMkLst>
        <pc:docMk/>
      </pc:docMkLst>
      <pc:sldChg chg="del">
        <pc:chgData name="Ioana Tanase" userId="419b098c-e309-4f8f-a18c-4767178eace9" providerId="ADAL" clId="{EE5D3463-F4BC-406B-BAC8-98AC24AF348A}" dt="2025-05-23T11:20:28.603" v="1" actId="18676"/>
        <pc:sldMkLst>
          <pc:docMk/>
          <pc:sldMk cId="1609530741" sldId="271"/>
        </pc:sldMkLst>
      </pc:sldChg>
      <pc:sldChg chg="del">
        <pc:chgData name="Ioana Tanase" userId="419b098c-e309-4f8f-a18c-4767178eace9" providerId="ADAL" clId="{EE5D3463-F4BC-406B-BAC8-98AC24AF348A}" dt="2025-05-23T11:20:28.603" v="1" actId="18676"/>
        <pc:sldMkLst>
          <pc:docMk/>
          <pc:sldMk cId="1430321110" sldId="294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2571640896" sldId="298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3319850610" sldId="303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2536475579" sldId="309"/>
        </pc:sldMkLst>
      </pc:sldChg>
      <pc:sldChg chg="del">
        <pc:chgData name="Ioana Tanase" userId="419b098c-e309-4f8f-a18c-4767178eace9" providerId="ADAL" clId="{EE5D3463-F4BC-406B-BAC8-98AC24AF348A}" dt="2025-05-23T11:20:28.603" v="1" actId="18676"/>
        <pc:sldMkLst>
          <pc:docMk/>
          <pc:sldMk cId="2592773133" sldId="310"/>
        </pc:sldMkLst>
      </pc:sldChg>
      <pc:sldChg chg="del">
        <pc:chgData name="Ioana Tanase" userId="419b098c-e309-4f8f-a18c-4767178eace9" providerId="ADAL" clId="{EE5D3463-F4BC-406B-BAC8-98AC24AF348A}" dt="2025-05-23T11:20:28.603" v="1" actId="18676"/>
        <pc:sldMkLst>
          <pc:docMk/>
          <pc:sldMk cId="1365397664" sldId="319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1836555565" sldId="808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2499880935" sldId="2147483637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1092444924" sldId="2147483640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335615065" sldId="2147483642"/>
        </pc:sldMkLst>
      </pc:sldChg>
      <pc:sldChg chg="del">
        <pc:chgData name="Ioana Tanase" userId="419b098c-e309-4f8f-a18c-4767178eace9" providerId="ADAL" clId="{EE5D3463-F4BC-406B-BAC8-98AC24AF348A}" dt="2025-05-23T11:20:19.543" v="0" actId="18676"/>
        <pc:sldMkLst>
          <pc:docMk/>
          <pc:sldMk cId="3710039413" sldId="2147483644"/>
        </pc:sldMkLst>
      </pc:sldChg>
      <pc:sldMasterChg chg="delSldLayout">
        <pc:chgData name="Ioana Tanase" userId="419b098c-e309-4f8f-a18c-4767178eace9" providerId="ADAL" clId="{EE5D3463-F4BC-406B-BAC8-98AC24AF348A}" dt="2025-05-23T11:20:19.543" v="0" actId="18676"/>
        <pc:sldMasterMkLst>
          <pc:docMk/>
          <pc:sldMasterMk cId="144240326" sldId="2147485608"/>
        </pc:sldMasterMkLst>
        <pc:sldLayoutChg chg="del">
          <pc:chgData name="Ioana Tanase" userId="419b098c-e309-4f8f-a18c-4767178eace9" providerId="ADAL" clId="{EE5D3463-F4BC-406B-BAC8-98AC24AF348A}" dt="2025-05-23T11:20:19.543" v="0" actId="18676"/>
          <pc:sldLayoutMkLst>
            <pc:docMk/>
            <pc:sldMasterMk cId="144240326" sldId="2147485608"/>
            <pc:sldLayoutMk cId="4038064141" sldId="214748562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illing to rely on AI systems</c:v>
                </c:pt>
              </c:strCache>
            </c:strRef>
          </c:tx>
          <c:spPr>
            <a:ln w="28575" cap="rnd">
              <a:solidFill>
                <a:srgbClr val="2A446F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0835908983514229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676-478B-AD8C-A71D52C9382D}"/>
                </c:ext>
              </c:extLst>
            </c:dLbl>
            <c:dLbl>
              <c:idx val="1"/>
              <c:layout>
                <c:manualLayout>
                  <c:x val="1.1423735841960355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76-478B-AD8C-A71D52C938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4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41</c:v>
                </c:pt>
                <c:pt idx="1">
                  <c:v>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676-478B-AD8C-A71D52C938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rceive AI systems as trustworthy</c:v>
                </c:pt>
              </c:strCache>
            </c:strRef>
          </c:tx>
          <c:spPr>
            <a:ln w="28575" cap="rnd">
              <a:solidFill>
                <a:srgbClr val="FFB3BB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8386429497904922E-2"/>
                  <c:y val="-1.83968462549277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676-478B-AD8C-A71D52C9382D}"/>
                </c:ext>
              </c:extLst>
            </c:dLbl>
            <c:dLbl>
              <c:idx val="1"/>
              <c:layout>
                <c:manualLayout>
                  <c:x val="1.1423735841960355E-2"/>
                  <c:y val="-4.818165978330825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76-478B-AD8C-A71D52C938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4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52</c:v>
                </c:pt>
                <c:pt idx="1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76-478B-AD8C-A71D52C9382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orried about AI systems</c:v>
                </c:pt>
              </c:strCache>
            </c:strRef>
          </c:tx>
          <c:spPr>
            <a:ln w="28575" cap="rnd">
              <a:solidFill>
                <a:srgbClr val="8DC8E8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9611169240709576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676-478B-AD8C-A71D52C9382D}"/>
                </c:ext>
              </c:extLst>
            </c:dLbl>
            <c:dLbl>
              <c:idx val="1"/>
              <c:layout>
                <c:manualLayout>
                  <c:x val="1.0198996099155701E-2"/>
                  <c:y val="1.2045414945827063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76-478B-AD8C-A71D52C938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4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49</c:v>
                </c:pt>
                <c:pt idx="1">
                  <c:v>0.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76-478B-AD8C-A71D52C9382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711334703"/>
        <c:axId val="1711336623"/>
      </c:lineChart>
      <c:catAx>
        <c:axId val="1711334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1336623"/>
        <c:crosses val="autoZero"/>
        <c:auto val="1"/>
        <c:lblAlgn val="ctr"/>
        <c:lblOffset val="100"/>
        <c:noMultiLvlLbl val="0"/>
      </c:catAx>
      <c:valAx>
        <c:axId val="1711336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13347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EFB22E-8098-4F50-A278-E74B31B6E670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A6B3E-D120-42DA-8A2C-A833158333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439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2C61DAB-D93E-49CA-B245-379601CFE8D0}" type="datetime8">
              <a:rPr lang="en-US" smtClean="0"/>
              <a:t>5/23/2025 1:2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526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1EDFF-6721-E92A-5F87-846A8BA22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04FF6B-2709-3B95-0C23-5E616CAF0B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96DD60-37D1-EBFD-1236-D7C0E47E00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A7A91-5B48-B54D-2BD0-4C737A3E44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97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E7784F-2C74-0B35-522A-58B216793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056B23-B314-4AC6-7596-7B09C66078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FC44ED-D65C-5E7E-985D-81C98F4E41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124B67-C979-A812-8780-B2D16EECE3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0882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F848A-A53A-0A6E-C28F-D112DA40C1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686366-1057-85A9-15C1-57AF2F7E3B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4F466E-40D6-5CBA-98B8-FEE2890323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44820-E957-E669-667F-9D60609049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8035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BE901-5C16-2D44-DA0F-AD54349B5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B53EEC-2AA3-779D-333F-CF25316617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20A095-0E20-33C7-B979-69743F4622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B14165-F7DA-83DB-EB78-7B94BE696B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23518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769A19-A0FA-9E2D-54B8-F7153E6E2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BF46EE-DE67-B8B4-7DC7-F50E7E66A1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A26285-2F78-5D02-B07E-AAC957CB31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53A7E-7438-B233-76F5-23EE665773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A6B3E-D120-42DA-8A2C-A833158333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2307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A6B3E-D120-42DA-8A2C-A833158333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369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7B8F8-2D12-A106-37F2-9DA513E4F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167F95-DEA3-BA33-6F09-ADB39B5901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87511C-7002-5ADC-0568-95180CDF26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127E69-35ED-3F30-3B5E-641DC9239A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8755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0472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F56BB1-E8B2-CB2D-DDE3-B04BDA2BE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789900-D3CB-D987-2986-79CC162CC2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9F6B33-E07E-CDDE-66AE-A7B085562C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3B798C-A4FD-4551-DF0D-D1EA80B3D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061CC-C569-444B-96F1-8DCF08A68F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22868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BD158-55C4-20DE-1EB8-0C0F5EC4C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456BD2-3A99-057D-107B-D8D40C7C4E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85B70D-5EBD-81ED-3F2D-1774FDC24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79F26C-2E97-DC16-F069-32558CCFA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802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2754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A6B3E-D120-42DA-8A2C-A833158333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52916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48F86-ACA2-38EE-7946-89CD131DC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70F49D-9F2B-A2BE-D8E4-3985072C3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9E5F8D-6508-02BF-8AE4-CF3628C43B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44EFE2-245A-6337-E173-E2EF60B50C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A6B3E-D120-42DA-8A2C-A833158333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07389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26C3F-1D75-B8B9-06AF-DB55D313D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44BAD7-1B02-86FC-4A19-44BCB2EA4E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B39392-BFAC-8AB2-1E77-8005574383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49F2A5-2A01-1EB5-D7DE-A41B99A988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A6B3E-D120-42DA-8A2C-A833158333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76195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DBC92-A613-3FCE-35DA-E75CBA926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BF6F89-2D03-70D6-D3C8-255738D539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795FBB-06E7-9D7A-D115-A5C4741309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2AD85B-ED75-3035-F371-06CD6C42C6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97BD5-DB97-4C3C-BDDA-7C02709AD7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355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416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9748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FEBC44-A2B1-5A45-A201-95CEBA47FB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8F859-F99B-6F29-6D5B-AEE303975B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7E830E-3FC2-FEC1-6304-D17B80C493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AC46A6-9E7E-B68E-9E10-6A7CDDD9BA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554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210E14-6419-79C3-700D-C68428F499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43C99D-A887-0634-06EA-BD108035FD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8C6728-A446-F1F3-3A83-81291200A8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B1357F-2C62-B67A-2C06-C74A96EC52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99DCC-2D7D-F74B-9539-5D1C082D55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8716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084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418EED-C5C5-75C4-DF36-C127673C2F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EDF77C-AE03-7370-92D6-1F9A72E086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BD947E-F97D-41CB-205C-C5769B61E7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156616-FA33-9EC5-E661-FBCE767FD8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BA6B3E-D120-42DA-8A2C-A833158333B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297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jpe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jpe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jpe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5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58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58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58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58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58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58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5" Type="http://schemas.openxmlformats.org/officeDocument/2006/relationships/image" Target="../media/image65.png"/><Relationship Id="rId4" Type="http://schemas.openxmlformats.org/officeDocument/2006/relationships/image" Target="../media/image58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5" Type="http://schemas.openxmlformats.org/officeDocument/2006/relationships/image" Target="../media/image66.png"/><Relationship Id="rId4" Type="http://schemas.openxmlformats.org/officeDocument/2006/relationships/image" Target="../media/image58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5" Type="http://schemas.openxmlformats.org/officeDocument/2006/relationships/image" Target="../media/image67.png"/><Relationship Id="rId4" Type="http://schemas.openxmlformats.org/officeDocument/2006/relationships/image" Target="../media/image58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4" Type="http://schemas.openxmlformats.org/officeDocument/2006/relationships/image" Target="../media/image5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5" Type="http://schemas.openxmlformats.org/officeDocument/2006/relationships/image" Target="../media/image65.png"/><Relationship Id="rId4" Type="http://schemas.openxmlformats.org/officeDocument/2006/relationships/image" Target="../media/image58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58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4" Type="http://schemas.openxmlformats.org/officeDocument/2006/relationships/image" Target="../media/image56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4" Type="http://schemas.openxmlformats.org/officeDocument/2006/relationships/image" Target="../media/image58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4" Type="http://schemas.openxmlformats.org/officeDocument/2006/relationships/image" Target="../media/image58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58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58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58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e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DA9DE-3C30-9E58-0DF3-7C37F97A1D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A6BC83-A8FD-F3B5-0E26-30CE59683C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D12648-487A-A8CF-74C5-1ECDF5870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0EC0E6-EDED-B46A-47BB-353822564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BC717B-7F62-7C40-4D87-34F263678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987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5D239-C5C6-CF00-CF25-A80E663D3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A0A511-170F-8FD0-F874-747924CD1C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994730-A81B-8EE2-FFAA-2F9FCF96B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C57E29-31DA-3C2B-6B88-1B8A0385B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BC934-DC94-55FB-0C95-8CBB6F661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4429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627066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2029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781802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92882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56767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881801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743606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5294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683150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8198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CDE148-F8C8-87C0-3E90-02E39D8723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B795C0-B18E-45CF-42B3-26D96D520F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507B7-5006-EBFD-65FF-883C8A990A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99B72E-73F4-B4BB-3B58-0DAA52296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C9036-18DA-7FFE-8B00-606D45515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952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011522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41375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799934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79295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17665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07259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Tech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8" y="0"/>
            <a:ext cx="12188949" cy="68562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3595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Tech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9" y="0"/>
            <a:ext cx="12188947" cy="68562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66864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Tech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9" y="0"/>
            <a:ext cx="12188947" cy="68562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9882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Tech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40" y="0"/>
            <a:ext cx="12188945" cy="68562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72787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12416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Deep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1C9BB26-0529-B32F-DBDF-B5811CDA49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" y="0"/>
            <a:ext cx="12188952" cy="68562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4954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Deep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" y="0"/>
            <a:ext cx="12188951" cy="68562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99801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Deep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" y="0"/>
            <a:ext cx="12188951" cy="68562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17206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_Deep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28F6A5-0E6F-5783-6B20-37D7C88365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8" y="0"/>
            <a:ext cx="12188949" cy="68562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74628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87366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6768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536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123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FA12984-B73F-E698-6D32-0F4ABF2659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bg1"/>
                </a:solidFill>
                <a:cs typeface="Segoe Sans Display" pitchFamily="2" charset="0"/>
              </a:rPr>
              <a:t>© Copyright Microsoft Corporation. All rights reserved.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5C9331B-8BBD-9951-13DE-8C91EF5F8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3152001"/>
            <a:ext cx="1101852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CDE2366-C38A-14DB-1D59-102DF31D6F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77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Sans Display" pitchFamily="2" charset="0"/>
                <a:ea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Sans Display" pitchFamily="2" charset="0"/>
                <a:ea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863871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454093-2407-868E-D935-592C706F24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C92DC79C-790E-8B3B-3A8A-E29B953EF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828844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78E58A-F050-2D4C-8CDE-EE12DA3AD3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5" name="Picture 4" descr="A close up of a sign&#10;&#10;AI-generated content may be incorrect.">
            <a:extLst>
              <a:ext uri="{FF2B5EF4-FFF2-40B4-BE49-F238E27FC236}">
                <a16:creationId xmlns:a16="http://schemas.microsoft.com/office/drawing/2014/main" id="{8DBF2036-0A95-6172-2982-A3932BB20C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892706-E514-9308-1054-E66D5F1305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82912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454093-2407-868E-D935-592C706F24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C92DC79C-790E-8B3B-3A8A-E29B953EF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63313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97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248273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65798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30914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62421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61310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568972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113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3877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5265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0324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31725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6267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3334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27447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259681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638885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46173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406056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olorful hexagons&#10;&#10;AI-generated content may be incorrect.">
            <a:extLst>
              <a:ext uri="{FF2B5EF4-FFF2-40B4-BE49-F238E27FC236}">
                <a16:creationId xmlns:a16="http://schemas.microsoft.com/office/drawing/2014/main" id="{C459F199-2A2D-6CE7-FD4F-C67A96274D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16058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284805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6543286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229000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568238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13571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91869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661383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36824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0101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36742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4023B5-FCD6-2A9F-A834-F37F444390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78" b="102"/>
          <a:stretch/>
        </p:blipFill>
        <p:spPr>
          <a:xfrm>
            <a:off x="3008" y="1693"/>
            <a:ext cx="12188991" cy="6854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42410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12362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7838939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572822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217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544228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8486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657639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92859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857840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86416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78E58A-F050-2D4C-8CDE-EE12DA3AD3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5" name="Picture 4" descr="A close up of a sign&#10;&#10;AI-generated content may be incorrect.">
            <a:extLst>
              <a:ext uri="{FF2B5EF4-FFF2-40B4-BE49-F238E27FC236}">
                <a16:creationId xmlns:a16="http://schemas.microsoft.com/office/drawing/2014/main" id="{8DBF2036-0A95-6172-2982-A3932BB20C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892706-E514-9308-1054-E66D5F1305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70256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olorful hexagons&#10;&#10;AI-generated content may be incorrect.">
            <a:extLst>
              <a:ext uri="{FF2B5EF4-FFF2-40B4-BE49-F238E27FC236}">
                <a16:creationId xmlns:a16="http://schemas.microsoft.com/office/drawing/2014/main" id="{C459F199-2A2D-6CE7-FD4F-C67A96274D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56031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12763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4023B5-FCD6-2A9F-A834-F37F444390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78" b="102"/>
          <a:stretch/>
        </p:blipFill>
        <p:spPr>
          <a:xfrm>
            <a:off x="3008" y="1693"/>
            <a:ext cx="12188991" cy="6854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75556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84628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853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5260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519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4065474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056137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4D7A88-AD03-9470-0F89-68F34ABB1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8697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4D7A88-AD03-9470-0F89-68F34ABB1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1386465B-C6CD-D73D-D723-376C63AEF3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gray">
          <a:xfrm>
            <a:off x="5519739" y="521217"/>
            <a:ext cx="1153167" cy="768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1288"/>
            <a:ext cx="11520488" cy="3313112"/>
          </a:xfrm>
        </p:spPr>
        <p:txBody>
          <a:bodyPr vert="horz" rIns="0" bIns="144000" anchor="b"/>
          <a:lstStyle>
            <a:lvl1pPr algn="ctr" rtl="0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 der </a:t>
            </a:r>
            <a:br>
              <a:rPr lang="de-DE" noProof="0"/>
            </a:br>
            <a:r>
              <a:rPr lang="de-DE" noProof="0"/>
              <a:t>Präsentation in </a:t>
            </a:r>
            <a:br>
              <a:rPr lang="de-DE" noProof="0"/>
            </a:br>
            <a:r>
              <a:rPr lang="de-DE" noProof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251684" y="5445000"/>
            <a:ext cx="5689116" cy="574675"/>
          </a:xfrm>
        </p:spPr>
        <p:txBody>
          <a:bodyPr/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de-DE" noProof="0"/>
              <a:t>Master-Untertitel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2235167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78E58A-F050-2D4C-8CDE-EE12DA3AD3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5" name="Picture 4" descr="A close up of a sign&#10;&#10;AI-generated content may be incorrect.">
            <a:extLst>
              <a:ext uri="{FF2B5EF4-FFF2-40B4-BE49-F238E27FC236}">
                <a16:creationId xmlns:a16="http://schemas.microsoft.com/office/drawing/2014/main" id="{8DBF2036-0A95-6172-2982-A3932BB20C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465" y="2703056"/>
            <a:ext cx="3376457" cy="1514143"/>
          </a:xfrm>
          <a:prstGeom prst="rect">
            <a:avLst/>
          </a:prstGeom>
        </p:spPr>
      </p:pic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892706-E514-9308-1054-E66D5F1305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70955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39B0F9F-05A3-635B-86E5-3E4E7890D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32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9B0F9F-05A3-635B-86E5-3E4E7890D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vert="horz" rIns="0" bIns="144000" anchor="b"/>
          <a:lstStyle>
            <a:lvl1pPr algn="ctr" rtl="0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er </a:t>
            </a:r>
            <a:br>
              <a:rPr lang="de-DE" noProof="0"/>
            </a:br>
            <a:r>
              <a:rPr lang="de-DE" noProof="0"/>
              <a:t>Präsentation in </a:t>
            </a:r>
            <a:br>
              <a:rPr lang="de-DE" noProof="0"/>
            </a:br>
            <a:r>
              <a:rPr lang="de-DE" noProof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-Untertitel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D015AB8-87EA-E8CC-6B89-980D47ED55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gray">
          <a:xfrm>
            <a:off x="5519738" y="520486"/>
            <a:ext cx="1152526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5099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AD3208-4DE2-3EDF-D93D-6FE3D509B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994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AD3208-4DE2-3EDF-D93D-6FE3D509B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invGray">
          <a:xfrm>
            <a:off x="336550" y="1125538"/>
            <a:ext cx="11520488" cy="3598862"/>
          </a:xfrm>
        </p:spPr>
        <p:txBody>
          <a:bodyPr/>
          <a:lstStyle>
            <a:lvl1pPr marL="0" indent="432000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5703746" y="5474076"/>
            <a:ext cx="78451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endParaRPr lang="de-DE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82906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AA25404-F026-0BDB-0584-C4E028EA1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5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A25404-F026-0BDB-0584-C4E028EA1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vert="horz" rIns="0" bIns="144000" anchor="b"/>
          <a:lstStyle>
            <a:lvl1pPr algn="ctr" rtl="0"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Kapitel Nr. #</a:t>
            </a:r>
          </a:p>
          <a:p>
            <a:pPr lvl="1"/>
            <a:r>
              <a:rPr lang="de-DE" noProof="0"/>
              <a:t>Mastertextformat bearbeiten</a:t>
            </a:r>
          </a:p>
          <a:p>
            <a:pPr lvl="0"/>
            <a:endParaRPr lang="de-DE" noProof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C3896E8-F4D3-489E-A816-530F0CB0C7A5}"/>
              </a:ext>
            </a:extLst>
          </p:cNvPr>
          <p:cNvSpPr>
            <a:spLocks/>
          </p:cNvSpPr>
          <p:nvPr userDrawn="1"/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325438679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446E2D1-8674-C386-2965-F2F2C2278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85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46E2D1-8674-C386-2965-F2F2C2278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8" cy="3311525"/>
          </a:xfrm>
        </p:spPr>
        <p:txBody>
          <a:bodyPr vert="horz" rIns="0" bIns="144000" anchor="b"/>
          <a:lstStyle>
            <a:lvl1pPr algn="ctr" rtl="0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Kapitel Nr. #</a:t>
            </a:r>
          </a:p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74070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89E9D9-C840-123B-F411-E745654A1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081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89E9D9-C840-123B-F411-E745654A1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vert="horz" rIns="0" bIns="144000" anchor="b"/>
          <a:lstStyle>
            <a:lvl1pPr algn="ctr" rtl="0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Kapitel Nr. #</a:t>
            </a:r>
          </a:p>
          <a:p>
            <a:pPr lvl="0"/>
            <a:r>
              <a:rPr lang="de-DE" noProof="0"/>
              <a:t>Mastertextformat bearbeiten</a:t>
            </a:r>
          </a:p>
          <a:p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280934550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CD74D9-32FC-3C84-A5D1-047BC9EA7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97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CD74D9-32FC-3C84-A5D1-047BC9EA7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 rtl="0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9" y="4293096"/>
            <a:ext cx="3743324" cy="575767"/>
          </a:xfrm>
        </p:spPr>
        <p:txBody>
          <a:bodyPr/>
          <a:lstStyle>
            <a:lvl1pPr marL="0" indent="0" algn="ctr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Vorname Nachname</a:t>
            </a:r>
          </a:p>
          <a:p>
            <a:pPr lvl="0"/>
            <a:r>
              <a:rPr lang="de-DE" noProof="0"/>
              <a:t>Position, Beschreibung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10D8EF99-7F22-4D85-997D-CBFB7B4C7E48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vert="horz" tIns="360000" rIns="0" anchor="b"/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16" name="SmartArt-Platzhalter 4">
            <a:extLst>
              <a:ext uri="{FF2B5EF4-FFF2-40B4-BE49-F238E27FC236}">
                <a16:creationId xmlns:a16="http://schemas.microsoft.com/office/drawing/2014/main" id="{1B1F15C5-F637-A0C6-CF75-32733FFE911D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gray">
          <a:xfrm>
            <a:off x="5232001" y="3717032"/>
            <a:ext cx="1731102" cy="14242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5041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972C0DB-0C1A-C81B-D9FA-6F43CFDA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855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72C0DB-0C1A-C81B-D9FA-6F43CFDA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200" b="1"/>
          </a:p>
        </p:txBody>
      </p:sp>
      <p:pic>
        <p:nvPicPr>
          <p:cNvPr id="16" name="Grafik 15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50052273-6F2C-46C2-A927-8BBBEF5783A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vert="horz" rIns="0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83523130-AFA1-42E4-AC66-26873E9A9C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04792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noFill/>
        </p:spPr>
        <p:txBody>
          <a:bodyPr wrap="square" lIns="0" tIns="0" rIns="0" bIns="576000" anchor="b">
            <a:noAutofit/>
          </a:bodyPr>
          <a:lstStyle>
            <a:lvl1pPr marL="0" indent="0" algn="ctr" rtl="0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D4DC5FD-1DF7-4CE6-8A34-BD27A4D20635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383825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9944EEE-7298-04F8-BE58-5D8E40ADAE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525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944EEE-7298-04F8-BE58-5D8E40ADAE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200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vert="horz" rIns="0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9B47EE3E-3303-4D5D-8EAB-8FF2A3660B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8" name="Grafik 17" descr="Ein Bild, das Text, Monitor, Screenshot enthält.&#10;&#10;Automatisch generierte Beschreibung">
            <a:extLst>
              <a:ext uri="{FF2B5EF4-FFF2-40B4-BE49-F238E27FC236}">
                <a16:creationId xmlns:a16="http://schemas.microsoft.com/office/drawing/2014/main" id="{13929267-5D41-4C78-AE1E-B162E81154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0096" y="1411288"/>
            <a:ext cx="2414164" cy="4826047"/>
          </a:xfrm>
          <a:prstGeom prst="rect">
            <a:avLst/>
          </a:prstGeom>
        </p:spPr>
      </p:pic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C5EB03-C5E0-458E-A02A-D04BFAA7E59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6540" y="1530375"/>
            <a:ext cx="2117219" cy="4562845"/>
          </a:xfrm>
          <a:custGeom>
            <a:avLst/>
            <a:gdLst>
              <a:gd name="connsiteX0" fmla="*/ 217212 w 2117219"/>
              <a:gd name="connsiteY0" fmla="*/ 0 h 4562845"/>
              <a:gd name="connsiteX1" fmla="*/ 438004 w 2117219"/>
              <a:gd name="connsiteY1" fmla="*/ 0 h 4562845"/>
              <a:gd name="connsiteX2" fmla="*/ 475002 w 2117219"/>
              <a:gd name="connsiteY2" fmla="*/ 36970 h 4562845"/>
              <a:gd name="connsiteX3" fmla="*/ 475002 w 2117219"/>
              <a:gd name="connsiteY3" fmla="*/ 77518 h 4562845"/>
              <a:gd name="connsiteX4" fmla="*/ 577641 w 2117219"/>
              <a:gd name="connsiteY4" fmla="*/ 180081 h 4562845"/>
              <a:gd name="connsiteX5" fmla="*/ 1540772 w 2117219"/>
              <a:gd name="connsiteY5" fmla="*/ 180081 h 4562845"/>
              <a:gd name="connsiteX6" fmla="*/ 1643411 w 2117219"/>
              <a:gd name="connsiteY6" fmla="*/ 77518 h 4562845"/>
              <a:gd name="connsiteX7" fmla="*/ 1643411 w 2117219"/>
              <a:gd name="connsiteY7" fmla="*/ 36970 h 4562845"/>
              <a:gd name="connsiteX8" fmla="*/ 1680408 w 2117219"/>
              <a:gd name="connsiteY8" fmla="*/ 0 h 4562845"/>
              <a:gd name="connsiteX9" fmla="*/ 1900007 w 2117219"/>
              <a:gd name="connsiteY9" fmla="*/ 0 h 4562845"/>
              <a:gd name="connsiteX10" fmla="*/ 2117219 w 2117219"/>
              <a:gd name="connsiteY10" fmla="*/ 217051 h 4562845"/>
              <a:gd name="connsiteX11" fmla="*/ 2117219 w 2117219"/>
              <a:gd name="connsiteY11" fmla="*/ 4345794 h 4562845"/>
              <a:gd name="connsiteX12" fmla="*/ 1900007 w 2117219"/>
              <a:gd name="connsiteY12" fmla="*/ 4562845 h 4562845"/>
              <a:gd name="connsiteX13" fmla="*/ 217212 w 2117219"/>
              <a:gd name="connsiteY13" fmla="*/ 4562845 h 4562845"/>
              <a:gd name="connsiteX14" fmla="*/ 0 w 2117219"/>
              <a:gd name="connsiteY14" fmla="*/ 4345794 h 4562845"/>
              <a:gd name="connsiteX15" fmla="*/ 0 w 2117219"/>
              <a:gd name="connsiteY15" fmla="*/ 217051 h 4562845"/>
              <a:gd name="connsiteX16" fmla="*/ 217212 w 2117219"/>
              <a:gd name="connsiteY16" fmla="*/ 0 h 456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17219" h="4562845">
                <a:moveTo>
                  <a:pt x="217212" y="0"/>
                </a:moveTo>
                <a:cubicBezTo>
                  <a:pt x="438004" y="0"/>
                  <a:pt x="438004" y="0"/>
                  <a:pt x="438004" y="0"/>
                </a:cubicBezTo>
                <a:cubicBezTo>
                  <a:pt x="458293" y="0"/>
                  <a:pt x="475002" y="16696"/>
                  <a:pt x="475002" y="36970"/>
                </a:cubicBezTo>
                <a:cubicBezTo>
                  <a:pt x="475002" y="77518"/>
                  <a:pt x="475002" y="77518"/>
                  <a:pt x="475002" y="77518"/>
                </a:cubicBezTo>
                <a:cubicBezTo>
                  <a:pt x="475002" y="134763"/>
                  <a:pt x="520354" y="180081"/>
                  <a:pt x="577641" y="180081"/>
                </a:cubicBezTo>
                <a:cubicBezTo>
                  <a:pt x="1540772" y="180081"/>
                  <a:pt x="1540772" y="180081"/>
                  <a:pt x="1540772" y="180081"/>
                </a:cubicBezTo>
                <a:cubicBezTo>
                  <a:pt x="1596865" y="180081"/>
                  <a:pt x="1643411" y="134763"/>
                  <a:pt x="1643411" y="77518"/>
                </a:cubicBezTo>
                <a:cubicBezTo>
                  <a:pt x="1643411" y="36970"/>
                  <a:pt x="1643411" y="36970"/>
                  <a:pt x="1643411" y="36970"/>
                </a:cubicBezTo>
                <a:cubicBezTo>
                  <a:pt x="1643411" y="16696"/>
                  <a:pt x="1660119" y="0"/>
                  <a:pt x="1680408" y="0"/>
                </a:cubicBezTo>
                <a:cubicBezTo>
                  <a:pt x="1900007" y="0"/>
                  <a:pt x="1900007" y="0"/>
                  <a:pt x="1900007" y="0"/>
                </a:cubicBezTo>
                <a:cubicBezTo>
                  <a:pt x="2020548" y="0"/>
                  <a:pt x="2117219" y="97792"/>
                  <a:pt x="2117219" y="217051"/>
                </a:cubicBezTo>
                <a:lnTo>
                  <a:pt x="2117219" y="4345794"/>
                </a:lnTo>
                <a:cubicBezTo>
                  <a:pt x="2117219" y="4465053"/>
                  <a:pt x="2020548" y="4562845"/>
                  <a:pt x="1900007" y="4562845"/>
                </a:cubicBezTo>
                <a:cubicBezTo>
                  <a:pt x="217212" y="4562845"/>
                  <a:pt x="217212" y="4562845"/>
                  <a:pt x="217212" y="4562845"/>
                </a:cubicBezTo>
                <a:cubicBezTo>
                  <a:pt x="96671" y="4562845"/>
                  <a:pt x="0" y="4466246"/>
                  <a:pt x="0" y="4345794"/>
                </a:cubicBezTo>
                <a:cubicBezTo>
                  <a:pt x="0" y="217051"/>
                  <a:pt x="0" y="217051"/>
                  <a:pt x="0" y="217051"/>
                </a:cubicBezTo>
                <a:cubicBezTo>
                  <a:pt x="0" y="97792"/>
                  <a:pt x="96671" y="0"/>
                  <a:pt x="217212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0" rIns="0" bIns="432000" anchor="b">
            <a:noAutofit/>
          </a:bodyPr>
          <a:lstStyle>
            <a:lvl1pPr marL="0" indent="0" algn="ctr" rtl="0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wählen Sie den Platzhalter an und klicken Sie einfügen. 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BA18E35E-1CF0-4694-B887-FBC87659C30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2897621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19C6615-870D-6183-42EB-D2874EE77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109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9C6615-870D-6183-42EB-D2874EE77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200" b="1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72EE45A-00D9-46AF-9122-E4C64CC51A8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807997" y="1391923"/>
            <a:ext cx="6056193" cy="46368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3" cy="1123950"/>
          </a:xfrm>
        </p:spPr>
        <p:txBody>
          <a:bodyPr vert="horz" rIns="0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8364F5A-F626-4E0B-B806-2DE9E115A8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97263" y="1581217"/>
            <a:ext cx="5676718" cy="4258905"/>
          </a:xfrm>
          <a:custGeom>
            <a:avLst/>
            <a:gdLst>
              <a:gd name="connsiteX0" fmla="*/ 76466 w 5676718"/>
              <a:gd name="connsiteY0" fmla="*/ 0 h 4258905"/>
              <a:gd name="connsiteX1" fmla="*/ 5600283 w 5676718"/>
              <a:gd name="connsiteY1" fmla="*/ 0 h 4258905"/>
              <a:gd name="connsiteX2" fmla="*/ 5676718 w 5676718"/>
              <a:gd name="connsiteY2" fmla="*/ 76466 h 4258905"/>
              <a:gd name="connsiteX3" fmla="*/ 5676718 w 5676718"/>
              <a:gd name="connsiteY3" fmla="*/ 4182438 h 4258905"/>
              <a:gd name="connsiteX4" fmla="*/ 5600252 w 5676718"/>
              <a:gd name="connsiteY4" fmla="*/ 4258905 h 4258905"/>
              <a:gd name="connsiteX5" fmla="*/ 76466 w 5676718"/>
              <a:gd name="connsiteY5" fmla="*/ 4258905 h 4258905"/>
              <a:gd name="connsiteX6" fmla="*/ 0 w 5676718"/>
              <a:gd name="connsiteY6" fmla="*/ 4182438 h 4258905"/>
              <a:gd name="connsiteX7" fmla="*/ 0 w 5676718"/>
              <a:gd name="connsiteY7" fmla="*/ 76466 h 4258905"/>
              <a:gd name="connsiteX8" fmla="*/ 76466 w 5676718"/>
              <a:gd name="connsiteY8" fmla="*/ 0 h 42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76718" h="4258905">
                <a:moveTo>
                  <a:pt x="76466" y="0"/>
                </a:moveTo>
                <a:lnTo>
                  <a:pt x="5600283" y="0"/>
                </a:lnTo>
                <a:cubicBezTo>
                  <a:pt x="5642489" y="0"/>
                  <a:pt x="5676718" y="34229"/>
                  <a:pt x="5676718" y="76466"/>
                </a:cubicBezTo>
                <a:lnTo>
                  <a:pt x="5676718" y="4182438"/>
                </a:lnTo>
                <a:cubicBezTo>
                  <a:pt x="5676718" y="4224676"/>
                  <a:pt x="5642489" y="4258905"/>
                  <a:pt x="5600252" y="4258905"/>
                </a:cubicBezTo>
                <a:lnTo>
                  <a:pt x="76466" y="4258905"/>
                </a:lnTo>
                <a:cubicBezTo>
                  <a:pt x="34229" y="4258873"/>
                  <a:pt x="0" y="4224644"/>
                  <a:pt x="0" y="4182438"/>
                </a:cubicBezTo>
                <a:lnTo>
                  <a:pt x="0" y="76466"/>
                </a:lnTo>
                <a:cubicBezTo>
                  <a:pt x="0" y="34229"/>
                  <a:pt x="34229" y="0"/>
                  <a:pt x="76466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720000" rIns="0" bIns="576000" anchor="b">
            <a:noAutofit/>
          </a:bodyPr>
          <a:lstStyle>
            <a:lvl1pPr marL="0" indent="0" algn="ctr" rtl="0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5981AF10-97DB-40EC-8613-F58EA5D388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5" cy="50419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28357FE-982B-4602-812A-DA6290B2822B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62219787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9D1FBE2-E841-EFB5-789D-9F235D5A24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847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1FBE2-E841-EFB5-789D-9F235D5A24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808FDAE0-CFCF-4E75-AE61-2D84BDF3CF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cap="rnd">
            <a:noFill/>
          </a:ln>
          <a:effectLst>
            <a:glow rad="254000">
              <a:srgbClr val="008A4F">
                <a:alpha val="2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44000" rIns="144000" bIns="144000" rtlCol="0" anchor="ctr">
            <a:noAutofit/>
          </a:bodyPr>
          <a:lstStyle/>
          <a:p>
            <a:pPr algn="ctr" rtl="0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CD6050FB-DE36-4D86-9C1A-B8C6991159E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828000" anchor="ctr"/>
          <a:lstStyle>
            <a:lvl1pPr marL="0" indent="0" algn="ctr" rtl="0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de-DE"/>
              <a:t>Video über Klicken auf Symbol hinzufügen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D7DF414D-C647-45DC-A53D-3BE08C14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93396"/>
            <a:ext cx="863450" cy="144016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73732EA5-6572-401E-8E57-0EE06FB9E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792538" y="6993396"/>
            <a:ext cx="4606924" cy="144016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5564EBD7-E421-420C-80ED-5FB9B424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993396"/>
            <a:ext cx="574675" cy="144016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4468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454093-2407-868E-D935-592C706F24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2" r="12"/>
          <a:stretch/>
        </p:blipFill>
        <p:spPr>
          <a:xfrm>
            <a:off x="3008" y="0"/>
            <a:ext cx="12188991" cy="6858000"/>
          </a:xfrm>
          <a:prstGeom prst="rect">
            <a:avLst/>
          </a:prstGeom>
        </p:spPr>
      </p:pic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C92DC79C-790E-8B3B-3A8A-E29B953EF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400"/>
            <a:ext cx="557784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28815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DC835E3-2E23-0BC6-813C-914D4521A4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333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C835E3-2E23-0BC6-813C-914D4521A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200" b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vert="horz" rIns="0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5" name="Grafik 14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8AD75974-F525-4A18-8953-F7E9CD345E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17" name="Medienplatzhalter 16">
            <a:extLst>
              <a:ext uri="{FF2B5EF4-FFF2-40B4-BE49-F238E27FC236}">
                <a16:creationId xmlns:a16="http://schemas.microsoft.com/office/drawing/2014/main" id="{D12B9425-A179-416D-B974-E93DC1E04346}"/>
              </a:ext>
            </a:extLst>
          </p:cNvPr>
          <p:cNvSpPr>
            <a:spLocks noGrp="1" noChangeAspect="1"/>
          </p:cNvSpPr>
          <p:nvPr>
            <p:ph type="media" sz="quarter" idx="18" hasCustomPrompt="1"/>
          </p:nvPr>
        </p:nvSpPr>
        <p:spPr bwMode="gray">
          <a:xfrm>
            <a:off x="5004793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828000" anchor="ctr">
            <a:noAutofit/>
          </a:bodyPr>
          <a:lstStyle>
            <a:lvl1pPr marL="0" indent="0" algn="ctr" rtl="0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de-DE"/>
              <a:t>Video über Klicken auf Symbol hinzufügen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C6AB7C0-FDF3-419F-909D-8AAA701C9E1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8934682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5D9A6E0-308F-2063-3BF8-CD983113EF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84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D9A6E0-308F-2063-3BF8-CD983113E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noFill/>
        </p:spPr>
        <p:txBody>
          <a:bodyPr lIns="0" tIns="0" rIns="0" bIns="576000" anchor="b"/>
          <a:lstStyle>
            <a:lvl1pPr marL="0" indent="0" algn="ctr" rtl="0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 rtl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rtl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 rtl="0">
              <a:buClrTx/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22436" y="836613"/>
            <a:ext cx="5094289" cy="574675"/>
          </a:xfrm>
        </p:spPr>
        <p:txBody>
          <a:bodyPr vert="horz" tIns="144000" rIns="0"/>
          <a:lstStyle>
            <a:lvl1pPr rtl="0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282309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0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0" tIns="0" rIns="0" bIns="576000" anchor="b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rtl="0"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6550" y="1412876"/>
            <a:ext cx="7631114" cy="3311524"/>
          </a:xfrm>
        </p:spPr>
        <p:txBody>
          <a:bodyPr rIns="0"/>
          <a:lstStyle>
            <a:lvl1pPr marL="0" indent="0" rtl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 rtl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 rtl="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marL="0" indent="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836613"/>
            <a:ext cx="5688013" cy="574675"/>
          </a:xfrm>
        </p:spPr>
        <p:txBody>
          <a:bodyPr vert="horz" tIns="144000" rIns="0"/>
          <a:lstStyle>
            <a:lvl1pPr rtl="0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3985929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201D283-4795-50ED-4412-645E7AAF3D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7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01D283-4795-50ED-4412-645E7AAF3D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5D5636C-4A3B-4687-A32F-A23F07330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3002629"/>
            <a:ext cx="7632165" cy="439200"/>
          </a:xfrm>
        </p:spPr>
        <p:txBody>
          <a:bodyPr vert="horz" tIns="0" rIns="0" anchor="b"/>
          <a:lstStyle>
            <a:lvl1pPr rtl="0">
              <a:defRPr/>
            </a:lvl1pPr>
          </a:lstStyle>
          <a:p>
            <a:r>
              <a:rPr lang="de-DE"/>
              <a:t>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DD7453-3D77-4899-8249-C2AE1A18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511B7-2BED-45DB-8C67-E37B5196F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515AA9-6163-4AFF-9843-E18F50895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9A3B9A-95AA-4913-969A-F19C557D1B4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 bwMode="gray">
          <a:xfrm>
            <a:off x="336550" y="4014391"/>
            <a:ext cx="7632165" cy="710009"/>
          </a:xfrm>
        </p:spPr>
        <p:txBody>
          <a:bodyPr/>
          <a:lstStyle>
            <a:lvl1pPr mar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A533901-D860-4E7E-A5C4-5A4116A2626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 bwMode="gray">
          <a:xfrm>
            <a:off x="336550" y="4868863"/>
            <a:ext cx="7632165" cy="1289485"/>
          </a:xfrm>
        </p:spPr>
        <p:txBody>
          <a:bodyPr anchor="b"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0B089D3-CF39-44CB-9B6F-CF35F004D8F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 bwMode="gray">
          <a:xfrm>
            <a:off x="8113825" y="4020309"/>
            <a:ext cx="3742678" cy="84855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52C86FB-A613-4E59-A8BA-FD8F2C23664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621639" y="2557114"/>
            <a:ext cx="1705719" cy="555427"/>
          </a:xfrm>
          <a:custGeom>
            <a:avLst/>
            <a:gdLst/>
            <a:ahLst/>
            <a:cxnLst/>
            <a:rect l="l" t="t" r="r" b="b"/>
            <a:pathLst>
              <a:path w="1705719" h="555427">
                <a:moveTo>
                  <a:pt x="1510457" y="421928"/>
                </a:moveTo>
                <a:cubicBezTo>
                  <a:pt x="1501329" y="421928"/>
                  <a:pt x="1493788" y="425252"/>
                  <a:pt x="1487835" y="431899"/>
                </a:cubicBezTo>
                <a:cubicBezTo>
                  <a:pt x="1481882" y="438547"/>
                  <a:pt x="1478955" y="447576"/>
                  <a:pt x="1479054" y="458986"/>
                </a:cubicBezTo>
                <a:lnTo>
                  <a:pt x="1541562" y="458986"/>
                </a:lnTo>
                <a:cubicBezTo>
                  <a:pt x="1541264" y="446881"/>
                  <a:pt x="1538139" y="437679"/>
                  <a:pt x="1532186" y="431378"/>
                </a:cubicBezTo>
                <a:cubicBezTo>
                  <a:pt x="1526233" y="425078"/>
                  <a:pt x="1518989" y="421928"/>
                  <a:pt x="1510457" y="421928"/>
                </a:cubicBezTo>
                <a:close/>
                <a:moveTo>
                  <a:pt x="1138982" y="421928"/>
                </a:moveTo>
                <a:cubicBezTo>
                  <a:pt x="1129853" y="421928"/>
                  <a:pt x="1122313" y="425252"/>
                  <a:pt x="1116360" y="431899"/>
                </a:cubicBezTo>
                <a:cubicBezTo>
                  <a:pt x="1110407" y="438547"/>
                  <a:pt x="1107480" y="447576"/>
                  <a:pt x="1107579" y="458986"/>
                </a:cubicBezTo>
                <a:lnTo>
                  <a:pt x="1170087" y="458986"/>
                </a:lnTo>
                <a:cubicBezTo>
                  <a:pt x="1169789" y="446881"/>
                  <a:pt x="1166664" y="437679"/>
                  <a:pt x="1160711" y="431378"/>
                </a:cubicBezTo>
                <a:cubicBezTo>
                  <a:pt x="1154757" y="425078"/>
                  <a:pt x="1147515" y="421928"/>
                  <a:pt x="1138982" y="421928"/>
                </a:cubicBezTo>
                <a:close/>
                <a:moveTo>
                  <a:pt x="557957" y="421928"/>
                </a:moveTo>
                <a:cubicBezTo>
                  <a:pt x="548829" y="421928"/>
                  <a:pt x="541288" y="425252"/>
                  <a:pt x="535335" y="431899"/>
                </a:cubicBezTo>
                <a:cubicBezTo>
                  <a:pt x="529382" y="438547"/>
                  <a:pt x="526455" y="447576"/>
                  <a:pt x="526554" y="458986"/>
                </a:cubicBezTo>
                <a:lnTo>
                  <a:pt x="589062" y="458986"/>
                </a:lnTo>
                <a:cubicBezTo>
                  <a:pt x="588764" y="446881"/>
                  <a:pt x="585639" y="437679"/>
                  <a:pt x="579686" y="431378"/>
                </a:cubicBezTo>
                <a:cubicBezTo>
                  <a:pt x="573733" y="425078"/>
                  <a:pt x="566489" y="421928"/>
                  <a:pt x="557957" y="421928"/>
                </a:cubicBezTo>
                <a:close/>
                <a:moveTo>
                  <a:pt x="1247626" y="393502"/>
                </a:moveTo>
                <a:lnTo>
                  <a:pt x="1289447" y="393502"/>
                </a:lnTo>
                <a:lnTo>
                  <a:pt x="1289447" y="551557"/>
                </a:lnTo>
                <a:lnTo>
                  <a:pt x="1247626" y="551557"/>
                </a:lnTo>
                <a:close/>
                <a:moveTo>
                  <a:pt x="1507927" y="389930"/>
                </a:moveTo>
                <a:cubicBezTo>
                  <a:pt x="1531441" y="389930"/>
                  <a:pt x="1549995" y="397694"/>
                  <a:pt x="1563589" y="413221"/>
                </a:cubicBezTo>
                <a:cubicBezTo>
                  <a:pt x="1577181" y="428749"/>
                  <a:pt x="1583680" y="452537"/>
                  <a:pt x="1583085" y="484585"/>
                </a:cubicBezTo>
                <a:lnTo>
                  <a:pt x="1478310" y="484585"/>
                </a:lnTo>
                <a:cubicBezTo>
                  <a:pt x="1478607" y="496987"/>
                  <a:pt x="1481981" y="506636"/>
                  <a:pt x="1488430" y="513532"/>
                </a:cubicBezTo>
                <a:cubicBezTo>
                  <a:pt x="1494879" y="520427"/>
                  <a:pt x="1502916" y="523875"/>
                  <a:pt x="1512540" y="523875"/>
                </a:cubicBezTo>
                <a:cubicBezTo>
                  <a:pt x="1519089" y="523875"/>
                  <a:pt x="1524595" y="522089"/>
                  <a:pt x="1529060" y="518517"/>
                </a:cubicBezTo>
                <a:cubicBezTo>
                  <a:pt x="1533525" y="514945"/>
                  <a:pt x="1536899" y="509191"/>
                  <a:pt x="1539181" y="501253"/>
                </a:cubicBezTo>
                <a:lnTo>
                  <a:pt x="1580853" y="508248"/>
                </a:lnTo>
                <a:cubicBezTo>
                  <a:pt x="1575495" y="523528"/>
                  <a:pt x="1567036" y="535161"/>
                  <a:pt x="1555477" y="543148"/>
                </a:cubicBezTo>
                <a:cubicBezTo>
                  <a:pt x="1543918" y="551136"/>
                  <a:pt x="1529457" y="555129"/>
                  <a:pt x="1512094" y="555129"/>
                </a:cubicBezTo>
                <a:cubicBezTo>
                  <a:pt x="1484610" y="555129"/>
                  <a:pt x="1464271" y="546150"/>
                  <a:pt x="1451074" y="528191"/>
                </a:cubicBezTo>
                <a:cubicBezTo>
                  <a:pt x="1440656" y="513804"/>
                  <a:pt x="1435447" y="495647"/>
                  <a:pt x="1435447" y="473720"/>
                </a:cubicBezTo>
                <a:cubicBezTo>
                  <a:pt x="1435447" y="447526"/>
                  <a:pt x="1442293" y="427013"/>
                  <a:pt x="1455986" y="412180"/>
                </a:cubicBezTo>
                <a:cubicBezTo>
                  <a:pt x="1469678" y="397346"/>
                  <a:pt x="1486991" y="389930"/>
                  <a:pt x="1507927" y="389930"/>
                </a:cubicBezTo>
                <a:close/>
                <a:moveTo>
                  <a:pt x="1136452" y="389930"/>
                </a:moveTo>
                <a:cubicBezTo>
                  <a:pt x="1159967" y="389930"/>
                  <a:pt x="1178520" y="397694"/>
                  <a:pt x="1192113" y="413221"/>
                </a:cubicBezTo>
                <a:cubicBezTo>
                  <a:pt x="1205706" y="428749"/>
                  <a:pt x="1212205" y="452537"/>
                  <a:pt x="1211610" y="484585"/>
                </a:cubicBezTo>
                <a:lnTo>
                  <a:pt x="1106835" y="484585"/>
                </a:lnTo>
                <a:cubicBezTo>
                  <a:pt x="1107133" y="496987"/>
                  <a:pt x="1110506" y="506636"/>
                  <a:pt x="1116955" y="513532"/>
                </a:cubicBezTo>
                <a:cubicBezTo>
                  <a:pt x="1123404" y="520427"/>
                  <a:pt x="1131441" y="523875"/>
                  <a:pt x="1141065" y="523875"/>
                </a:cubicBezTo>
                <a:cubicBezTo>
                  <a:pt x="1147614" y="523875"/>
                  <a:pt x="1153120" y="522089"/>
                  <a:pt x="1157585" y="518517"/>
                </a:cubicBezTo>
                <a:cubicBezTo>
                  <a:pt x="1162050" y="514945"/>
                  <a:pt x="1165423" y="509191"/>
                  <a:pt x="1167706" y="501253"/>
                </a:cubicBezTo>
                <a:lnTo>
                  <a:pt x="1209377" y="508248"/>
                </a:lnTo>
                <a:cubicBezTo>
                  <a:pt x="1204020" y="523528"/>
                  <a:pt x="1195561" y="535161"/>
                  <a:pt x="1184002" y="543148"/>
                </a:cubicBezTo>
                <a:cubicBezTo>
                  <a:pt x="1172443" y="551136"/>
                  <a:pt x="1157982" y="555129"/>
                  <a:pt x="1140619" y="555129"/>
                </a:cubicBezTo>
                <a:cubicBezTo>
                  <a:pt x="1113135" y="555129"/>
                  <a:pt x="1092795" y="546150"/>
                  <a:pt x="1079599" y="528191"/>
                </a:cubicBezTo>
                <a:cubicBezTo>
                  <a:pt x="1069181" y="513804"/>
                  <a:pt x="1063972" y="495647"/>
                  <a:pt x="1063972" y="473720"/>
                </a:cubicBezTo>
                <a:cubicBezTo>
                  <a:pt x="1063972" y="447526"/>
                  <a:pt x="1070819" y="427013"/>
                  <a:pt x="1084511" y="412180"/>
                </a:cubicBezTo>
                <a:cubicBezTo>
                  <a:pt x="1098203" y="397346"/>
                  <a:pt x="1115517" y="389930"/>
                  <a:pt x="1136452" y="389930"/>
                </a:cubicBezTo>
                <a:close/>
                <a:moveTo>
                  <a:pt x="739676" y="389930"/>
                </a:moveTo>
                <a:cubicBezTo>
                  <a:pt x="749201" y="389930"/>
                  <a:pt x="758379" y="392559"/>
                  <a:pt x="767209" y="397818"/>
                </a:cubicBezTo>
                <a:lnTo>
                  <a:pt x="754261" y="434281"/>
                </a:lnTo>
                <a:cubicBezTo>
                  <a:pt x="747216" y="429717"/>
                  <a:pt x="740668" y="427435"/>
                  <a:pt x="734616" y="427435"/>
                </a:cubicBezTo>
                <a:cubicBezTo>
                  <a:pt x="728762" y="427435"/>
                  <a:pt x="723801" y="429047"/>
                  <a:pt x="719733" y="432271"/>
                </a:cubicBezTo>
                <a:cubicBezTo>
                  <a:pt x="715665" y="435496"/>
                  <a:pt x="712465" y="441325"/>
                  <a:pt x="710133" y="449759"/>
                </a:cubicBezTo>
                <a:cubicBezTo>
                  <a:pt x="707802" y="458192"/>
                  <a:pt x="706636" y="475853"/>
                  <a:pt x="706636" y="502742"/>
                </a:cubicBezTo>
                <a:lnTo>
                  <a:pt x="706636" y="551557"/>
                </a:lnTo>
                <a:lnTo>
                  <a:pt x="664815" y="551557"/>
                </a:lnTo>
                <a:lnTo>
                  <a:pt x="664815" y="393502"/>
                </a:lnTo>
                <a:lnTo>
                  <a:pt x="703659" y="393502"/>
                </a:lnTo>
                <a:lnTo>
                  <a:pt x="703659" y="415975"/>
                </a:lnTo>
                <a:cubicBezTo>
                  <a:pt x="710307" y="405358"/>
                  <a:pt x="716285" y="398363"/>
                  <a:pt x="721593" y="394990"/>
                </a:cubicBezTo>
                <a:cubicBezTo>
                  <a:pt x="726901" y="391617"/>
                  <a:pt x="732929" y="389930"/>
                  <a:pt x="739676" y="389930"/>
                </a:cubicBezTo>
                <a:close/>
                <a:moveTo>
                  <a:pt x="555427" y="389930"/>
                </a:moveTo>
                <a:cubicBezTo>
                  <a:pt x="578941" y="389930"/>
                  <a:pt x="597495" y="397694"/>
                  <a:pt x="611088" y="413221"/>
                </a:cubicBezTo>
                <a:cubicBezTo>
                  <a:pt x="624681" y="428749"/>
                  <a:pt x="631180" y="452537"/>
                  <a:pt x="630585" y="484585"/>
                </a:cubicBezTo>
                <a:lnTo>
                  <a:pt x="525810" y="484585"/>
                </a:lnTo>
                <a:cubicBezTo>
                  <a:pt x="526107" y="496987"/>
                  <a:pt x="529481" y="506636"/>
                  <a:pt x="535930" y="513532"/>
                </a:cubicBezTo>
                <a:cubicBezTo>
                  <a:pt x="542379" y="520427"/>
                  <a:pt x="550416" y="523875"/>
                  <a:pt x="560040" y="523875"/>
                </a:cubicBezTo>
                <a:cubicBezTo>
                  <a:pt x="566589" y="523875"/>
                  <a:pt x="572095" y="522089"/>
                  <a:pt x="576560" y="518517"/>
                </a:cubicBezTo>
                <a:cubicBezTo>
                  <a:pt x="581025" y="514945"/>
                  <a:pt x="584399" y="509191"/>
                  <a:pt x="586681" y="501253"/>
                </a:cubicBezTo>
                <a:lnTo>
                  <a:pt x="628353" y="508248"/>
                </a:lnTo>
                <a:cubicBezTo>
                  <a:pt x="622995" y="523528"/>
                  <a:pt x="614536" y="535161"/>
                  <a:pt x="602977" y="543148"/>
                </a:cubicBezTo>
                <a:cubicBezTo>
                  <a:pt x="591418" y="551136"/>
                  <a:pt x="576957" y="555129"/>
                  <a:pt x="559594" y="555129"/>
                </a:cubicBezTo>
                <a:cubicBezTo>
                  <a:pt x="532110" y="555129"/>
                  <a:pt x="511770" y="546150"/>
                  <a:pt x="498574" y="528191"/>
                </a:cubicBezTo>
                <a:cubicBezTo>
                  <a:pt x="488156" y="513804"/>
                  <a:pt x="482947" y="495647"/>
                  <a:pt x="482947" y="473720"/>
                </a:cubicBezTo>
                <a:cubicBezTo>
                  <a:pt x="482947" y="447526"/>
                  <a:pt x="489793" y="427013"/>
                  <a:pt x="503486" y="412180"/>
                </a:cubicBezTo>
                <a:cubicBezTo>
                  <a:pt x="517178" y="397346"/>
                  <a:pt x="534491" y="389930"/>
                  <a:pt x="555427" y="389930"/>
                </a:cubicBezTo>
                <a:close/>
                <a:moveTo>
                  <a:pt x="444401" y="389930"/>
                </a:moveTo>
                <a:cubicBezTo>
                  <a:pt x="453926" y="389930"/>
                  <a:pt x="463104" y="392559"/>
                  <a:pt x="471934" y="397818"/>
                </a:cubicBezTo>
                <a:lnTo>
                  <a:pt x="458986" y="434281"/>
                </a:lnTo>
                <a:cubicBezTo>
                  <a:pt x="451941" y="429717"/>
                  <a:pt x="445393" y="427435"/>
                  <a:pt x="439341" y="427435"/>
                </a:cubicBezTo>
                <a:cubicBezTo>
                  <a:pt x="433487" y="427435"/>
                  <a:pt x="428526" y="429047"/>
                  <a:pt x="424458" y="432271"/>
                </a:cubicBezTo>
                <a:cubicBezTo>
                  <a:pt x="420390" y="435496"/>
                  <a:pt x="417190" y="441325"/>
                  <a:pt x="414859" y="449759"/>
                </a:cubicBezTo>
                <a:cubicBezTo>
                  <a:pt x="412527" y="458192"/>
                  <a:pt x="411361" y="475853"/>
                  <a:pt x="411361" y="502742"/>
                </a:cubicBezTo>
                <a:lnTo>
                  <a:pt x="411361" y="551557"/>
                </a:lnTo>
                <a:lnTo>
                  <a:pt x="369540" y="551557"/>
                </a:lnTo>
                <a:lnTo>
                  <a:pt x="369540" y="393502"/>
                </a:lnTo>
                <a:lnTo>
                  <a:pt x="408384" y="393502"/>
                </a:lnTo>
                <a:lnTo>
                  <a:pt x="408384" y="415975"/>
                </a:lnTo>
                <a:cubicBezTo>
                  <a:pt x="415032" y="405358"/>
                  <a:pt x="421010" y="398363"/>
                  <a:pt x="426318" y="394990"/>
                </a:cubicBezTo>
                <a:cubicBezTo>
                  <a:pt x="431626" y="391617"/>
                  <a:pt x="437654" y="389930"/>
                  <a:pt x="444401" y="389930"/>
                </a:cubicBezTo>
                <a:close/>
                <a:moveTo>
                  <a:pt x="1386781" y="337691"/>
                </a:moveTo>
                <a:lnTo>
                  <a:pt x="1386781" y="393502"/>
                </a:lnTo>
                <a:lnTo>
                  <a:pt x="1415356" y="393502"/>
                </a:lnTo>
                <a:lnTo>
                  <a:pt x="1415356" y="426839"/>
                </a:lnTo>
                <a:lnTo>
                  <a:pt x="1386781" y="426839"/>
                </a:lnTo>
                <a:lnTo>
                  <a:pt x="1386781" y="490538"/>
                </a:lnTo>
                <a:cubicBezTo>
                  <a:pt x="1386781" y="503436"/>
                  <a:pt x="1387053" y="510952"/>
                  <a:pt x="1387599" y="513085"/>
                </a:cubicBezTo>
                <a:cubicBezTo>
                  <a:pt x="1388145" y="515218"/>
                  <a:pt x="1389385" y="516980"/>
                  <a:pt x="1391320" y="518369"/>
                </a:cubicBezTo>
                <a:cubicBezTo>
                  <a:pt x="1393255" y="519758"/>
                  <a:pt x="1395611" y="520452"/>
                  <a:pt x="1398389" y="520452"/>
                </a:cubicBezTo>
                <a:cubicBezTo>
                  <a:pt x="1402259" y="520452"/>
                  <a:pt x="1407865" y="519113"/>
                  <a:pt x="1415207" y="516434"/>
                </a:cubicBezTo>
                <a:lnTo>
                  <a:pt x="1418779" y="548878"/>
                </a:lnTo>
                <a:cubicBezTo>
                  <a:pt x="1409055" y="553045"/>
                  <a:pt x="1398042" y="555129"/>
                  <a:pt x="1385739" y="555129"/>
                </a:cubicBezTo>
                <a:cubicBezTo>
                  <a:pt x="1378198" y="555129"/>
                  <a:pt x="1371402" y="553864"/>
                  <a:pt x="1365349" y="551334"/>
                </a:cubicBezTo>
                <a:cubicBezTo>
                  <a:pt x="1359297" y="548804"/>
                  <a:pt x="1354857" y="545530"/>
                  <a:pt x="1352029" y="541511"/>
                </a:cubicBezTo>
                <a:cubicBezTo>
                  <a:pt x="1349201" y="537493"/>
                  <a:pt x="1347242" y="532061"/>
                  <a:pt x="1346151" y="525215"/>
                </a:cubicBezTo>
                <a:cubicBezTo>
                  <a:pt x="1345257" y="520353"/>
                  <a:pt x="1344811" y="510530"/>
                  <a:pt x="1344811" y="495747"/>
                </a:cubicBezTo>
                <a:lnTo>
                  <a:pt x="1344811" y="426839"/>
                </a:lnTo>
                <a:lnTo>
                  <a:pt x="1325612" y="426839"/>
                </a:lnTo>
                <a:lnTo>
                  <a:pt x="1325612" y="393502"/>
                </a:lnTo>
                <a:lnTo>
                  <a:pt x="1344811" y="393502"/>
                </a:lnTo>
                <a:lnTo>
                  <a:pt x="1344811" y="362099"/>
                </a:lnTo>
                <a:close/>
                <a:moveTo>
                  <a:pt x="1247626" y="333375"/>
                </a:moveTo>
                <a:lnTo>
                  <a:pt x="1289447" y="333375"/>
                </a:lnTo>
                <a:lnTo>
                  <a:pt x="1289447" y="372070"/>
                </a:lnTo>
                <a:lnTo>
                  <a:pt x="1247626" y="372070"/>
                </a:lnTo>
                <a:close/>
                <a:moveTo>
                  <a:pt x="190202" y="333375"/>
                </a:moveTo>
                <a:lnTo>
                  <a:pt x="232023" y="333375"/>
                </a:lnTo>
                <a:lnTo>
                  <a:pt x="232023" y="413594"/>
                </a:lnTo>
                <a:cubicBezTo>
                  <a:pt x="245517" y="397818"/>
                  <a:pt x="261640" y="389930"/>
                  <a:pt x="280392" y="389930"/>
                </a:cubicBezTo>
                <a:cubicBezTo>
                  <a:pt x="290017" y="389930"/>
                  <a:pt x="298698" y="391716"/>
                  <a:pt x="306437" y="395288"/>
                </a:cubicBezTo>
                <a:cubicBezTo>
                  <a:pt x="314176" y="398860"/>
                  <a:pt x="320005" y="403424"/>
                  <a:pt x="323925" y="408980"/>
                </a:cubicBezTo>
                <a:cubicBezTo>
                  <a:pt x="327844" y="414536"/>
                  <a:pt x="330523" y="420688"/>
                  <a:pt x="331961" y="427435"/>
                </a:cubicBezTo>
                <a:cubicBezTo>
                  <a:pt x="333400" y="434181"/>
                  <a:pt x="334119" y="444649"/>
                  <a:pt x="334119" y="458837"/>
                </a:cubicBezTo>
                <a:lnTo>
                  <a:pt x="334119" y="551557"/>
                </a:lnTo>
                <a:lnTo>
                  <a:pt x="292299" y="551557"/>
                </a:lnTo>
                <a:lnTo>
                  <a:pt x="292299" y="468065"/>
                </a:lnTo>
                <a:cubicBezTo>
                  <a:pt x="292299" y="451495"/>
                  <a:pt x="291505" y="440978"/>
                  <a:pt x="289917" y="436513"/>
                </a:cubicBezTo>
                <a:cubicBezTo>
                  <a:pt x="288330" y="432048"/>
                  <a:pt x="285527" y="428501"/>
                  <a:pt x="281509" y="425872"/>
                </a:cubicBezTo>
                <a:cubicBezTo>
                  <a:pt x="277490" y="423242"/>
                  <a:pt x="272455" y="421928"/>
                  <a:pt x="266402" y="421928"/>
                </a:cubicBezTo>
                <a:cubicBezTo>
                  <a:pt x="259457" y="421928"/>
                  <a:pt x="253256" y="423615"/>
                  <a:pt x="247799" y="426988"/>
                </a:cubicBezTo>
                <a:cubicBezTo>
                  <a:pt x="242342" y="430362"/>
                  <a:pt x="238348" y="435446"/>
                  <a:pt x="235818" y="442243"/>
                </a:cubicBezTo>
                <a:cubicBezTo>
                  <a:pt x="233288" y="449039"/>
                  <a:pt x="232023" y="459085"/>
                  <a:pt x="232023" y="472381"/>
                </a:cubicBezTo>
                <a:lnTo>
                  <a:pt x="232023" y="551557"/>
                </a:lnTo>
                <a:lnTo>
                  <a:pt x="190202" y="551557"/>
                </a:lnTo>
                <a:close/>
                <a:moveTo>
                  <a:pt x="113109" y="333375"/>
                </a:moveTo>
                <a:lnTo>
                  <a:pt x="157163" y="333375"/>
                </a:lnTo>
                <a:lnTo>
                  <a:pt x="157163" y="551557"/>
                </a:lnTo>
                <a:lnTo>
                  <a:pt x="113109" y="551557"/>
                </a:lnTo>
                <a:close/>
                <a:moveTo>
                  <a:pt x="952798" y="329654"/>
                </a:moveTo>
                <a:cubicBezTo>
                  <a:pt x="980182" y="329654"/>
                  <a:pt x="1000795" y="335657"/>
                  <a:pt x="1014636" y="347663"/>
                </a:cubicBezTo>
                <a:cubicBezTo>
                  <a:pt x="1028477" y="359668"/>
                  <a:pt x="1035745" y="375692"/>
                  <a:pt x="1036439" y="395734"/>
                </a:cubicBezTo>
                <a:lnTo>
                  <a:pt x="992386" y="397669"/>
                </a:lnTo>
                <a:cubicBezTo>
                  <a:pt x="990501" y="386457"/>
                  <a:pt x="986458" y="378396"/>
                  <a:pt x="980257" y="373484"/>
                </a:cubicBezTo>
                <a:cubicBezTo>
                  <a:pt x="974055" y="368573"/>
                  <a:pt x="964754" y="366117"/>
                  <a:pt x="952351" y="366117"/>
                </a:cubicBezTo>
                <a:cubicBezTo>
                  <a:pt x="939552" y="366117"/>
                  <a:pt x="929531" y="368747"/>
                  <a:pt x="922288" y="374005"/>
                </a:cubicBezTo>
                <a:cubicBezTo>
                  <a:pt x="917625" y="377379"/>
                  <a:pt x="915293" y="381893"/>
                  <a:pt x="915293" y="387549"/>
                </a:cubicBezTo>
                <a:cubicBezTo>
                  <a:pt x="915293" y="392708"/>
                  <a:pt x="917476" y="397123"/>
                  <a:pt x="921841" y="400794"/>
                </a:cubicBezTo>
                <a:cubicBezTo>
                  <a:pt x="927398" y="405458"/>
                  <a:pt x="940891" y="410319"/>
                  <a:pt x="962323" y="415379"/>
                </a:cubicBezTo>
                <a:cubicBezTo>
                  <a:pt x="983754" y="420440"/>
                  <a:pt x="999604" y="425673"/>
                  <a:pt x="1009873" y="431081"/>
                </a:cubicBezTo>
                <a:cubicBezTo>
                  <a:pt x="1020143" y="436488"/>
                  <a:pt x="1028179" y="443880"/>
                  <a:pt x="1033983" y="453256"/>
                </a:cubicBezTo>
                <a:cubicBezTo>
                  <a:pt x="1039788" y="462632"/>
                  <a:pt x="1042690" y="474216"/>
                  <a:pt x="1042690" y="488008"/>
                </a:cubicBezTo>
                <a:cubicBezTo>
                  <a:pt x="1042690" y="500509"/>
                  <a:pt x="1039217" y="512217"/>
                  <a:pt x="1032272" y="523131"/>
                </a:cubicBezTo>
                <a:cubicBezTo>
                  <a:pt x="1025327" y="534045"/>
                  <a:pt x="1015504" y="542156"/>
                  <a:pt x="1002804" y="547464"/>
                </a:cubicBezTo>
                <a:cubicBezTo>
                  <a:pt x="990104" y="552773"/>
                  <a:pt x="974279" y="555427"/>
                  <a:pt x="955328" y="555427"/>
                </a:cubicBezTo>
                <a:cubicBezTo>
                  <a:pt x="927745" y="555427"/>
                  <a:pt x="906562" y="549052"/>
                  <a:pt x="891778" y="536302"/>
                </a:cubicBezTo>
                <a:cubicBezTo>
                  <a:pt x="876995" y="523553"/>
                  <a:pt x="868164" y="504974"/>
                  <a:pt x="865287" y="480566"/>
                </a:cubicBezTo>
                <a:lnTo>
                  <a:pt x="908149" y="476399"/>
                </a:lnTo>
                <a:cubicBezTo>
                  <a:pt x="910729" y="490786"/>
                  <a:pt x="915963" y="501353"/>
                  <a:pt x="923851" y="508099"/>
                </a:cubicBezTo>
                <a:cubicBezTo>
                  <a:pt x="931739" y="514846"/>
                  <a:pt x="942380" y="518220"/>
                  <a:pt x="955774" y="518220"/>
                </a:cubicBezTo>
                <a:cubicBezTo>
                  <a:pt x="969963" y="518220"/>
                  <a:pt x="980653" y="515218"/>
                  <a:pt x="987847" y="509216"/>
                </a:cubicBezTo>
                <a:cubicBezTo>
                  <a:pt x="995040" y="503213"/>
                  <a:pt x="998637" y="496193"/>
                  <a:pt x="998637" y="488156"/>
                </a:cubicBezTo>
                <a:cubicBezTo>
                  <a:pt x="998637" y="482997"/>
                  <a:pt x="997124" y="478607"/>
                  <a:pt x="994098" y="474985"/>
                </a:cubicBezTo>
                <a:cubicBezTo>
                  <a:pt x="991071" y="471364"/>
                  <a:pt x="985788" y="468213"/>
                  <a:pt x="978247" y="465535"/>
                </a:cubicBezTo>
                <a:cubicBezTo>
                  <a:pt x="973088" y="463749"/>
                  <a:pt x="961331" y="460574"/>
                  <a:pt x="942975" y="456010"/>
                </a:cubicBezTo>
                <a:cubicBezTo>
                  <a:pt x="919361" y="450156"/>
                  <a:pt x="902791" y="442962"/>
                  <a:pt x="893267" y="434429"/>
                </a:cubicBezTo>
                <a:cubicBezTo>
                  <a:pt x="879872" y="422424"/>
                  <a:pt x="873175" y="407789"/>
                  <a:pt x="873175" y="390525"/>
                </a:cubicBezTo>
                <a:cubicBezTo>
                  <a:pt x="873175" y="379413"/>
                  <a:pt x="876325" y="369019"/>
                  <a:pt x="882625" y="359346"/>
                </a:cubicBezTo>
                <a:cubicBezTo>
                  <a:pt x="888926" y="349672"/>
                  <a:pt x="898004" y="342305"/>
                  <a:pt x="909861" y="337245"/>
                </a:cubicBezTo>
                <a:cubicBezTo>
                  <a:pt x="921717" y="332185"/>
                  <a:pt x="936030" y="329654"/>
                  <a:pt x="952798" y="329654"/>
                </a:cubicBezTo>
                <a:close/>
                <a:moveTo>
                  <a:pt x="1477715" y="142280"/>
                </a:moveTo>
                <a:cubicBezTo>
                  <a:pt x="1472357" y="144066"/>
                  <a:pt x="1463873" y="146199"/>
                  <a:pt x="1452265" y="148679"/>
                </a:cubicBezTo>
                <a:cubicBezTo>
                  <a:pt x="1440656" y="151160"/>
                  <a:pt x="1433066" y="153591"/>
                  <a:pt x="1429494" y="155972"/>
                </a:cubicBezTo>
                <a:cubicBezTo>
                  <a:pt x="1424037" y="159842"/>
                  <a:pt x="1421309" y="164753"/>
                  <a:pt x="1421309" y="170706"/>
                </a:cubicBezTo>
                <a:cubicBezTo>
                  <a:pt x="1421309" y="176560"/>
                  <a:pt x="1423492" y="181620"/>
                  <a:pt x="1427857" y="185886"/>
                </a:cubicBezTo>
                <a:cubicBezTo>
                  <a:pt x="1432223" y="190153"/>
                  <a:pt x="1437779" y="192286"/>
                  <a:pt x="1444526" y="192286"/>
                </a:cubicBezTo>
                <a:cubicBezTo>
                  <a:pt x="1452067" y="192286"/>
                  <a:pt x="1459260" y="189806"/>
                  <a:pt x="1466106" y="184845"/>
                </a:cubicBezTo>
                <a:cubicBezTo>
                  <a:pt x="1471166" y="181074"/>
                  <a:pt x="1474490" y="176461"/>
                  <a:pt x="1476077" y="171004"/>
                </a:cubicBezTo>
                <a:cubicBezTo>
                  <a:pt x="1477169" y="167432"/>
                  <a:pt x="1477715" y="160635"/>
                  <a:pt x="1477715" y="150614"/>
                </a:cubicBezTo>
                <a:close/>
                <a:moveTo>
                  <a:pt x="858590" y="142280"/>
                </a:moveTo>
                <a:cubicBezTo>
                  <a:pt x="853232" y="144066"/>
                  <a:pt x="844749" y="146199"/>
                  <a:pt x="833140" y="148679"/>
                </a:cubicBezTo>
                <a:cubicBezTo>
                  <a:pt x="821531" y="151160"/>
                  <a:pt x="813941" y="153591"/>
                  <a:pt x="810369" y="155972"/>
                </a:cubicBezTo>
                <a:cubicBezTo>
                  <a:pt x="804912" y="159842"/>
                  <a:pt x="802184" y="164753"/>
                  <a:pt x="802184" y="170706"/>
                </a:cubicBezTo>
                <a:cubicBezTo>
                  <a:pt x="802184" y="176560"/>
                  <a:pt x="804366" y="181620"/>
                  <a:pt x="808732" y="185886"/>
                </a:cubicBezTo>
                <a:cubicBezTo>
                  <a:pt x="813098" y="190153"/>
                  <a:pt x="818654" y="192286"/>
                  <a:pt x="825401" y="192286"/>
                </a:cubicBezTo>
                <a:cubicBezTo>
                  <a:pt x="832941" y="192286"/>
                  <a:pt x="840135" y="189806"/>
                  <a:pt x="846981" y="184845"/>
                </a:cubicBezTo>
                <a:cubicBezTo>
                  <a:pt x="852041" y="181074"/>
                  <a:pt x="855365" y="176461"/>
                  <a:pt x="856953" y="171004"/>
                </a:cubicBezTo>
                <a:cubicBezTo>
                  <a:pt x="858044" y="167432"/>
                  <a:pt x="858590" y="160635"/>
                  <a:pt x="858590" y="150614"/>
                </a:cubicBezTo>
                <a:close/>
                <a:moveTo>
                  <a:pt x="606326" y="123081"/>
                </a:moveTo>
                <a:lnTo>
                  <a:pt x="606326" y="181422"/>
                </a:lnTo>
                <a:lnTo>
                  <a:pt x="647105" y="181422"/>
                </a:lnTo>
                <a:cubicBezTo>
                  <a:pt x="662980" y="181422"/>
                  <a:pt x="673051" y="180975"/>
                  <a:pt x="677317" y="180082"/>
                </a:cubicBezTo>
                <a:cubicBezTo>
                  <a:pt x="683865" y="178892"/>
                  <a:pt x="689198" y="175989"/>
                  <a:pt x="693316" y="171376"/>
                </a:cubicBezTo>
                <a:cubicBezTo>
                  <a:pt x="697433" y="166762"/>
                  <a:pt x="699492" y="160586"/>
                  <a:pt x="699492" y="152847"/>
                </a:cubicBezTo>
                <a:cubicBezTo>
                  <a:pt x="699492" y="146298"/>
                  <a:pt x="697905" y="140742"/>
                  <a:pt x="694730" y="136178"/>
                </a:cubicBezTo>
                <a:cubicBezTo>
                  <a:pt x="691555" y="131614"/>
                  <a:pt x="686966" y="128290"/>
                  <a:pt x="680963" y="126206"/>
                </a:cubicBezTo>
                <a:cubicBezTo>
                  <a:pt x="674960" y="124123"/>
                  <a:pt x="661938" y="123081"/>
                  <a:pt x="641896" y="123081"/>
                </a:cubicBezTo>
                <a:close/>
                <a:moveTo>
                  <a:pt x="376982" y="88553"/>
                </a:moveTo>
                <a:cubicBezTo>
                  <a:pt x="367854" y="88553"/>
                  <a:pt x="360313" y="91877"/>
                  <a:pt x="354360" y="98524"/>
                </a:cubicBezTo>
                <a:cubicBezTo>
                  <a:pt x="348407" y="105172"/>
                  <a:pt x="345480" y="114201"/>
                  <a:pt x="345579" y="125611"/>
                </a:cubicBezTo>
                <a:lnTo>
                  <a:pt x="408087" y="125611"/>
                </a:lnTo>
                <a:cubicBezTo>
                  <a:pt x="407789" y="113506"/>
                  <a:pt x="404664" y="104304"/>
                  <a:pt x="398711" y="98003"/>
                </a:cubicBezTo>
                <a:cubicBezTo>
                  <a:pt x="392758" y="91703"/>
                  <a:pt x="385515" y="88553"/>
                  <a:pt x="376982" y="88553"/>
                </a:cubicBezTo>
                <a:close/>
                <a:moveTo>
                  <a:pt x="218926" y="60127"/>
                </a:moveTo>
                <a:lnTo>
                  <a:pt x="260747" y="60127"/>
                </a:lnTo>
                <a:lnTo>
                  <a:pt x="260747" y="218182"/>
                </a:lnTo>
                <a:lnTo>
                  <a:pt x="218926" y="218182"/>
                </a:lnTo>
                <a:close/>
                <a:moveTo>
                  <a:pt x="1652587" y="56555"/>
                </a:moveTo>
                <a:cubicBezTo>
                  <a:pt x="1661815" y="56555"/>
                  <a:pt x="1670249" y="58217"/>
                  <a:pt x="1677889" y="61541"/>
                </a:cubicBezTo>
                <a:cubicBezTo>
                  <a:pt x="1685528" y="64864"/>
                  <a:pt x="1691308" y="69106"/>
                  <a:pt x="1695227" y="74265"/>
                </a:cubicBezTo>
                <a:cubicBezTo>
                  <a:pt x="1699146" y="79425"/>
                  <a:pt x="1701875" y="85279"/>
                  <a:pt x="1703413" y="91827"/>
                </a:cubicBezTo>
                <a:cubicBezTo>
                  <a:pt x="1704950" y="98376"/>
                  <a:pt x="1705719" y="107752"/>
                  <a:pt x="1705719" y="119956"/>
                </a:cubicBezTo>
                <a:lnTo>
                  <a:pt x="1705719" y="218182"/>
                </a:lnTo>
                <a:lnTo>
                  <a:pt x="1663899" y="218182"/>
                </a:lnTo>
                <a:lnTo>
                  <a:pt x="1663899" y="137517"/>
                </a:lnTo>
                <a:cubicBezTo>
                  <a:pt x="1663899" y="120452"/>
                  <a:pt x="1663005" y="109414"/>
                  <a:pt x="1661220" y="104403"/>
                </a:cubicBezTo>
                <a:cubicBezTo>
                  <a:pt x="1659434" y="99392"/>
                  <a:pt x="1656531" y="95498"/>
                  <a:pt x="1652513" y="92720"/>
                </a:cubicBezTo>
                <a:cubicBezTo>
                  <a:pt x="1648495" y="89942"/>
                  <a:pt x="1643658" y="88553"/>
                  <a:pt x="1638003" y="88553"/>
                </a:cubicBezTo>
                <a:cubicBezTo>
                  <a:pt x="1630759" y="88553"/>
                  <a:pt x="1624261" y="90537"/>
                  <a:pt x="1618506" y="94506"/>
                </a:cubicBezTo>
                <a:cubicBezTo>
                  <a:pt x="1612751" y="98475"/>
                  <a:pt x="1608807" y="103733"/>
                  <a:pt x="1606674" y="110282"/>
                </a:cubicBezTo>
                <a:cubicBezTo>
                  <a:pt x="1604541" y="116830"/>
                  <a:pt x="1603474" y="128935"/>
                  <a:pt x="1603474" y="146596"/>
                </a:cubicBezTo>
                <a:lnTo>
                  <a:pt x="1603474" y="218182"/>
                </a:lnTo>
                <a:lnTo>
                  <a:pt x="1561654" y="218182"/>
                </a:lnTo>
                <a:lnTo>
                  <a:pt x="1561654" y="60127"/>
                </a:lnTo>
                <a:lnTo>
                  <a:pt x="1600498" y="60127"/>
                </a:lnTo>
                <a:lnTo>
                  <a:pt x="1600498" y="83344"/>
                </a:lnTo>
                <a:cubicBezTo>
                  <a:pt x="1614289" y="65485"/>
                  <a:pt x="1631653" y="56555"/>
                  <a:pt x="1652587" y="56555"/>
                </a:cubicBezTo>
                <a:close/>
                <a:moveTo>
                  <a:pt x="1452265" y="56555"/>
                </a:moveTo>
                <a:cubicBezTo>
                  <a:pt x="1470918" y="56555"/>
                  <a:pt x="1484809" y="58762"/>
                  <a:pt x="1493937" y="63178"/>
                </a:cubicBezTo>
                <a:cubicBezTo>
                  <a:pt x="1503065" y="67593"/>
                  <a:pt x="1509489" y="73199"/>
                  <a:pt x="1513210" y="79995"/>
                </a:cubicBezTo>
                <a:cubicBezTo>
                  <a:pt x="1516931" y="86792"/>
                  <a:pt x="1518791" y="99269"/>
                  <a:pt x="1518791" y="117426"/>
                </a:cubicBezTo>
                <a:lnTo>
                  <a:pt x="1518345" y="166241"/>
                </a:lnTo>
                <a:cubicBezTo>
                  <a:pt x="1518345" y="180132"/>
                  <a:pt x="1519014" y="190376"/>
                  <a:pt x="1520354" y="196974"/>
                </a:cubicBezTo>
                <a:cubicBezTo>
                  <a:pt x="1521693" y="203572"/>
                  <a:pt x="1524199" y="210642"/>
                  <a:pt x="1527870" y="218182"/>
                </a:cubicBezTo>
                <a:lnTo>
                  <a:pt x="1486495" y="218182"/>
                </a:lnTo>
                <a:cubicBezTo>
                  <a:pt x="1485404" y="215404"/>
                  <a:pt x="1484065" y="211287"/>
                  <a:pt x="1482477" y="205829"/>
                </a:cubicBezTo>
                <a:cubicBezTo>
                  <a:pt x="1481783" y="203349"/>
                  <a:pt x="1481287" y="201712"/>
                  <a:pt x="1480989" y="200918"/>
                </a:cubicBezTo>
                <a:cubicBezTo>
                  <a:pt x="1473845" y="207863"/>
                  <a:pt x="1466205" y="213072"/>
                  <a:pt x="1458069" y="216545"/>
                </a:cubicBezTo>
                <a:cubicBezTo>
                  <a:pt x="1449933" y="220018"/>
                  <a:pt x="1441252" y="221754"/>
                  <a:pt x="1432024" y="221754"/>
                </a:cubicBezTo>
                <a:cubicBezTo>
                  <a:pt x="1415753" y="221754"/>
                  <a:pt x="1402928" y="217339"/>
                  <a:pt x="1393552" y="208508"/>
                </a:cubicBezTo>
                <a:cubicBezTo>
                  <a:pt x="1384176" y="199678"/>
                  <a:pt x="1379488" y="188516"/>
                  <a:pt x="1379488" y="175022"/>
                </a:cubicBezTo>
                <a:cubicBezTo>
                  <a:pt x="1379488" y="166092"/>
                  <a:pt x="1381621" y="158130"/>
                  <a:pt x="1385888" y="151135"/>
                </a:cubicBezTo>
                <a:cubicBezTo>
                  <a:pt x="1390154" y="144140"/>
                  <a:pt x="1396132" y="138782"/>
                  <a:pt x="1403821" y="135062"/>
                </a:cubicBezTo>
                <a:cubicBezTo>
                  <a:pt x="1411511" y="131341"/>
                  <a:pt x="1422599" y="128092"/>
                  <a:pt x="1437085" y="125313"/>
                </a:cubicBezTo>
                <a:cubicBezTo>
                  <a:pt x="1456631" y="121642"/>
                  <a:pt x="1470174" y="118219"/>
                  <a:pt x="1477715" y="115044"/>
                </a:cubicBezTo>
                <a:lnTo>
                  <a:pt x="1477715" y="110877"/>
                </a:lnTo>
                <a:cubicBezTo>
                  <a:pt x="1477715" y="102840"/>
                  <a:pt x="1475730" y="97111"/>
                  <a:pt x="1471761" y="93687"/>
                </a:cubicBezTo>
                <a:cubicBezTo>
                  <a:pt x="1467793" y="90264"/>
                  <a:pt x="1460302" y="88553"/>
                  <a:pt x="1449288" y="88553"/>
                </a:cubicBezTo>
                <a:cubicBezTo>
                  <a:pt x="1441847" y="88553"/>
                  <a:pt x="1436043" y="90016"/>
                  <a:pt x="1431875" y="92943"/>
                </a:cubicBezTo>
                <a:cubicBezTo>
                  <a:pt x="1427708" y="95870"/>
                  <a:pt x="1424335" y="101005"/>
                  <a:pt x="1421755" y="108347"/>
                </a:cubicBezTo>
                <a:lnTo>
                  <a:pt x="1383804" y="101501"/>
                </a:lnTo>
                <a:cubicBezTo>
                  <a:pt x="1388071" y="86221"/>
                  <a:pt x="1395413" y="74910"/>
                  <a:pt x="1405831" y="67568"/>
                </a:cubicBezTo>
                <a:cubicBezTo>
                  <a:pt x="1416249" y="60226"/>
                  <a:pt x="1431727" y="56555"/>
                  <a:pt x="1452265" y="56555"/>
                </a:cubicBezTo>
                <a:close/>
                <a:moveTo>
                  <a:pt x="1033463" y="56555"/>
                </a:moveTo>
                <a:cubicBezTo>
                  <a:pt x="1042690" y="56555"/>
                  <a:pt x="1051123" y="58217"/>
                  <a:pt x="1058763" y="61541"/>
                </a:cubicBezTo>
                <a:cubicBezTo>
                  <a:pt x="1066403" y="64864"/>
                  <a:pt x="1072183" y="69106"/>
                  <a:pt x="1076102" y="74265"/>
                </a:cubicBezTo>
                <a:cubicBezTo>
                  <a:pt x="1080021" y="79425"/>
                  <a:pt x="1082749" y="85279"/>
                  <a:pt x="1084287" y="91827"/>
                </a:cubicBezTo>
                <a:cubicBezTo>
                  <a:pt x="1085825" y="98376"/>
                  <a:pt x="1086594" y="107752"/>
                  <a:pt x="1086594" y="119956"/>
                </a:cubicBezTo>
                <a:lnTo>
                  <a:pt x="1086594" y="218182"/>
                </a:lnTo>
                <a:lnTo>
                  <a:pt x="1044773" y="218182"/>
                </a:lnTo>
                <a:lnTo>
                  <a:pt x="1044773" y="137517"/>
                </a:lnTo>
                <a:cubicBezTo>
                  <a:pt x="1044773" y="120452"/>
                  <a:pt x="1043881" y="109414"/>
                  <a:pt x="1042095" y="104403"/>
                </a:cubicBezTo>
                <a:cubicBezTo>
                  <a:pt x="1040309" y="99392"/>
                  <a:pt x="1037407" y="95498"/>
                  <a:pt x="1033388" y="92720"/>
                </a:cubicBezTo>
                <a:cubicBezTo>
                  <a:pt x="1029370" y="89942"/>
                  <a:pt x="1024533" y="88553"/>
                  <a:pt x="1018877" y="88553"/>
                </a:cubicBezTo>
                <a:cubicBezTo>
                  <a:pt x="1011635" y="88553"/>
                  <a:pt x="1005135" y="90537"/>
                  <a:pt x="999381" y="94506"/>
                </a:cubicBezTo>
                <a:cubicBezTo>
                  <a:pt x="993626" y="98475"/>
                  <a:pt x="989682" y="103733"/>
                  <a:pt x="987549" y="110282"/>
                </a:cubicBezTo>
                <a:cubicBezTo>
                  <a:pt x="985416" y="116830"/>
                  <a:pt x="984349" y="128935"/>
                  <a:pt x="984349" y="146596"/>
                </a:cubicBezTo>
                <a:lnTo>
                  <a:pt x="984349" y="218182"/>
                </a:lnTo>
                <a:lnTo>
                  <a:pt x="942529" y="218182"/>
                </a:lnTo>
                <a:lnTo>
                  <a:pt x="942529" y="60127"/>
                </a:lnTo>
                <a:lnTo>
                  <a:pt x="981373" y="60127"/>
                </a:lnTo>
                <a:lnTo>
                  <a:pt x="981373" y="83344"/>
                </a:lnTo>
                <a:cubicBezTo>
                  <a:pt x="995164" y="65485"/>
                  <a:pt x="1012527" y="56555"/>
                  <a:pt x="1033463" y="56555"/>
                </a:cubicBezTo>
                <a:close/>
                <a:moveTo>
                  <a:pt x="833140" y="56555"/>
                </a:moveTo>
                <a:cubicBezTo>
                  <a:pt x="851793" y="56555"/>
                  <a:pt x="865684" y="58762"/>
                  <a:pt x="874812" y="63178"/>
                </a:cubicBezTo>
                <a:cubicBezTo>
                  <a:pt x="883940" y="67593"/>
                  <a:pt x="890364" y="73199"/>
                  <a:pt x="894085" y="79995"/>
                </a:cubicBezTo>
                <a:cubicBezTo>
                  <a:pt x="897806" y="86792"/>
                  <a:pt x="899666" y="99269"/>
                  <a:pt x="899666" y="117426"/>
                </a:cubicBezTo>
                <a:lnTo>
                  <a:pt x="899220" y="166241"/>
                </a:lnTo>
                <a:cubicBezTo>
                  <a:pt x="899220" y="180132"/>
                  <a:pt x="899889" y="190376"/>
                  <a:pt x="901229" y="196974"/>
                </a:cubicBezTo>
                <a:cubicBezTo>
                  <a:pt x="902568" y="203572"/>
                  <a:pt x="905073" y="210642"/>
                  <a:pt x="908745" y="218182"/>
                </a:cubicBezTo>
                <a:lnTo>
                  <a:pt x="867370" y="218182"/>
                </a:lnTo>
                <a:cubicBezTo>
                  <a:pt x="866279" y="215404"/>
                  <a:pt x="864939" y="211287"/>
                  <a:pt x="863352" y="205829"/>
                </a:cubicBezTo>
                <a:cubicBezTo>
                  <a:pt x="862657" y="203349"/>
                  <a:pt x="862161" y="201712"/>
                  <a:pt x="861864" y="200918"/>
                </a:cubicBezTo>
                <a:cubicBezTo>
                  <a:pt x="854720" y="207863"/>
                  <a:pt x="847080" y="213072"/>
                  <a:pt x="838944" y="216545"/>
                </a:cubicBezTo>
                <a:cubicBezTo>
                  <a:pt x="830808" y="220018"/>
                  <a:pt x="822127" y="221754"/>
                  <a:pt x="812899" y="221754"/>
                </a:cubicBezTo>
                <a:cubicBezTo>
                  <a:pt x="796627" y="221754"/>
                  <a:pt x="783803" y="217339"/>
                  <a:pt x="774427" y="208508"/>
                </a:cubicBezTo>
                <a:cubicBezTo>
                  <a:pt x="765051" y="199678"/>
                  <a:pt x="760363" y="188516"/>
                  <a:pt x="760363" y="175022"/>
                </a:cubicBezTo>
                <a:cubicBezTo>
                  <a:pt x="760363" y="166092"/>
                  <a:pt x="762496" y="158130"/>
                  <a:pt x="766763" y="151135"/>
                </a:cubicBezTo>
                <a:cubicBezTo>
                  <a:pt x="771029" y="144140"/>
                  <a:pt x="777007" y="138782"/>
                  <a:pt x="784696" y="135062"/>
                </a:cubicBezTo>
                <a:cubicBezTo>
                  <a:pt x="792386" y="131341"/>
                  <a:pt x="803473" y="128092"/>
                  <a:pt x="817959" y="125313"/>
                </a:cubicBezTo>
                <a:cubicBezTo>
                  <a:pt x="837506" y="121642"/>
                  <a:pt x="851049" y="118219"/>
                  <a:pt x="858590" y="115044"/>
                </a:cubicBezTo>
                <a:lnTo>
                  <a:pt x="858590" y="110877"/>
                </a:lnTo>
                <a:cubicBezTo>
                  <a:pt x="858590" y="102840"/>
                  <a:pt x="856605" y="97111"/>
                  <a:pt x="852637" y="93687"/>
                </a:cubicBezTo>
                <a:cubicBezTo>
                  <a:pt x="848668" y="90264"/>
                  <a:pt x="841177" y="88553"/>
                  <a:pt x="830163" y="88553"/>
                </a:cubicBezTo>
                <a:cubicBezTo>
                  <a:pt x="822722" y="88553"/>
                  <a:pt x="816918" y="90016"/>
                  <a:pt x="812751" y="92943"/>
                </a:cubicBezTo>
                <a:cubicBezTo>
                  <a:pt x="808583" y="95870"/>
                  <a:pt x="805210" y="101005"/>
                  <a:pt x="802630" y="108347"/>
                </a:cubicBezTo>
                <a:lnTo>
                  <a:pt x="764679" y="101501"/>
                </a:lnTo>
                <a:cubicBezTo>
                  <a:pt x="768945" y="86221"/>
                  <a:pt x="776288" y="74910"/>
                  <a:pt x="786706" y="67568"/>
                </a:cubicBezTo>
                <a:cubicBezTo>
                  <a:pt x="797123" y="60226"/>
                  <a:pt x="812602" y="56555"/>
                  <a:pt x="833140" y="56555"/>
                </a:cubicBezTo>
                <a:close/>
                <a:moveTo>
                  <a:pt x="374452" y="56555"/>
                </a:moveTo>
                <a:cubicBezTo>
                  <a:pt x="397966" y="56555"/>
                  <a:pt x="416520" y="64319"/>
                  <a:pt x="430113" y="79846"/>
                </a:cubicBezTo>
                <a:cubicBezTo>
                  <a:pt x="443706" y="95374"/>
                  <a:pt x="450205" y="119162"/>
                  <a:pt x="449610" y="151210"/>
                </a:cubicBezTo>
                <a:lnTo>
                  <a:pt x="344835" y="151210"/>
                </a:lnTo>
                <a:cubicBezTo>
                  <a:pt x="345133" y="163612"/>
                  <a:pt x="348506" y="173261"/>
                  <a:pt x="354955" y="180157"/>
                </a:cubicBezTo>
                <a:cubicBezTo>
                  <a:pt x="361404" y="187052"/>
                  <a:pt x="369441" y="190500"/>
                  <a:pt x="379065" y="190500"/>
                </a:cubicBezTo>
                <a:cubicBezTo>
                  <a:pt x="385614" y="190500"/>
                  <a:pt x="391120" y="188714"/>
                  <a:pt x="395585" y="185142"/>
                </a:cubicBezTo>
                <a:cubicBezTo>
                  <a:pt x="400050" y="181570"/>
                  <a:pt x="403423" y="175816"/>
                  <a:pt x="405706" y="167878"/>
                </a:cubicBezTo>
                <a:lnTo>
                  <a:pt x="447377" y="174873"/>
                </a:lnTo>
                <a:cubicBezTo>
                  <a:pt x="442020" y="190153"/>
                  <a:pt x="433561" y="201786"/>
                  <a:pt x="422002" y="209773"/>
                </a:cubicBezTo>
                <a:cubicBezTo>
                  <a:pt x="410443" y="217761"/>
                  <a:pt x="395982" y="221754"/>
                  <a:pt x="378619" y="221754"/>
                </a:cubicBezTo>
                <a:cubicBezTo>
                  <a:pt x="351135" y="221754"/>
                  <a:pt x="330795" y="212775"/>
                  <a:pt x="317599" y="194816"/>
                </a:cubicBezTo>
                <a:cubicBezTo>
                  <a:pt x="307181" y="180429"/>
                  <a:pt x="301972" y="162272"/>
                  <a:pt x="301972" y="140345"/>
                </a:cubicBezTo>
                <a:cubicBezTo>
                  <a:pt x="301972" y="114151"/>
                  <a:pt x="308818" y="93638"/>
                  <a:pt x="322511" y="78805"/>
                </a:cubicBezTo>
                <a:cubicBezTo>
                  <a:pt x="336203" y="63971"/>
                  <a:pt x="353517" y="56555"/>
                  <a:pt x="374452" y="56555"/>
                </a:cubicBezTo>
                <a:close/>
                <a:moveTo>
                  <a:pt x="44053" y="36910"/>
                </a:moveTo>
                <a:lnTo>
                  <a:pt x="44053" y="181422"/>
                </a:lnTo>
                <a:lnTo>
                  <a:pt x="76944" y="181422"/>
                </a:lnTo>
                <a:cubicBezTo>
                  <a:pt x="89247" y="181422"/>
                  <a:pt x="98127" y="180727"/>
                  <a:pt x="103585" y="179338"/>
                </a:cubicBezTo>
                <a:cubicBezTo>
                  <a:pt x="110728" y="177552"/>
                  <a:pt x="116657" y="174526"/>
                  <a:pt x="121369" y="170260"/>
                </a:cubicBezTo>
                <a:cubicBezTo>
                  <a:pt x="126082" y="165993"/>
                  <a:pt x="129927" y="158973"/>
                  <a:pt x="132904" y="149200"/>
                </a:cubicBezTo>
                <a:cubicBezTo>
                  <a:pt x="135880" y="139427"/>
                  <a:pt x="137369" y="126107"/>
                  <a:pt x="137369" y="109240"/>
                </a:cubicBezTo>
                <a:cubicBezTo>
                  <a:pt x="137369" y="92373"/>
                  <a:pt x="135880" y="79425"/>
                  <a:pt x="132904" y="70396"/>
                </a:cubicBezTo>
                <a:cubicBezTo>
                  <a:pt x="129927" y="61367"/>
                  <a:pt x="125760" y="54322"/>
                  <a:pt x="120402" y="49262"/>
                </a:cubicBezTo>
                <a:cubicBezTo>
                  <a:pt x="115044" y="44202"/>
                  <a:pt x="108248" y="40779"/>
                  <a:pt x="100013" y="38993"/>
                </a:cubicBezTo>
                <a:cubicBezTo>
                  <a:pt x="93861" y="37604"/>
                  <a:pt x="81806" y="36910"/>
                  <a:pt x="63847" y="36910"/>
                </a:cubicBezTo>
                <a:close/>
                <a:moveTo>
                  <a:pt x="606326" y="36314"/>
                </a:moveTo>
                <a:lnTo>
                  <a:pt x="606326" y="86767"/>
                </a:lnTo>
                <a:lnTo>
                  <a:pt x="635199" y="86767"/>
                </a:lnTo>
                <a:cubicBezTo>
                  <a:pt x="652363" y="86767"/>
                  <a:pt x="663029" y="86519"/>
                  <a:pt x="667197" y="86023"/>
                </a:cubicBezTo>
                <a:cubicBezTo>
                  <a:pt x="674737" y="85130"/>
                  <a:pt x="680665" y="82525"/>
                  <a:pt x="684981" y="78209"/>
                </a:cubicBezTo>
                <a:cubicBezTo>
                  <a:pt x="689298" y="73893"/>
                  <a:pt x="691456" y="68213"/>
                  <a:pt x="691456" y="61169"/>
                </a:cubicBezTo>
                <a:cubicBezTo>
                  <a:pt x="691456" y="54422"/>
                  <a:pt x="689595" y="48940"/>
                  <a:pt x="685875" y="44723"/>
                </a:cubicBezTo>
                <a:cubicBezTo>
                  <a:pt x="682154" y="40506"/>
                  <a:pt x="676622" y="37951"/>
                  <a:pt x="669280" y="37058"/>
                </a:cubicBezTo>
                <a:cubicBezTo>
                  <a:pt x="664915" y="36562"/>
                  <a:pt x="652363" y="36314"/>
                  <a:pt x="631627" y="36314"/>
                </a:cubicBezTo>
                <a:close/>
                <a:moveTo>
                  <a:pt x="1122313" y="0"/>
                </a:moveTo>
                <a:lnTo>
                  <a:pt x="1164134" y="0"/>
                </a:lnTo>
                <a:lnTo>
                  <a:pt x="1164134" y="115788"/>
                </a:lnTo>
                <a:lnTo>
                  <a:pt x="1213098" y="60127"/>
                </a:lnTo>
                <a:lnTo>
                  <a:pt x="1264593" y="60127"/>
                </a:lnTo>
                <a:lnTo>
                  <a:pt x="1210568" y="117872"/>
                </a:lnTo>
                <a:lnTo>
                  <a:pt x="1268462" y="218182"/>
                </a:lnTo>
                <a:lnTo>
                  <a:pt x="1223367" y="218182"/>
                </a:lnTo>
                <a:lnTo>
                  <a:pt x="1183630" y="147191"/>
                </a:lnTo>
                <a:lnTo>
                  <a:pt x="1164134" y="167581"/>
                </a:lnTo>
                <a:lnTo>
                  <a:pt x="1164134" y="218182"/>
                </a:lnTo>
                <a:lnTo>
                  <a:pt x="1122313" y="218182"/>
                </a:lnTo>
                <a:close/>
                <a:moveTo>
                  <a:pt x="562273" y="0"/>
                </a:moveTo>
                <a:lnTo>
                  <a:pt x="649486" y="0"/>
                </a:lnTo>
                <a:cubicBezTo>
                  <a:pt x="666750" y="0"/>
                  <a:pt x="679624" y="720"/>
                  <a:pt x="688107" y="2158"/>
                </a:cubicBezTo>
                <a:cubicBezTo>
                  <a:pt x="696590" y="3597"/>
                  <a:pt x="704180" y="6598"/>
                  <a:pt x="710878" y="11162"/>
                </a:cubicBezTo>
                <a:cubicBezTo>
                  <a:pt x="717575" y="15726"/>
                  <a:pt x="723156" y="21803"/>
                  <a:pt x="727621" y="29394"/>
                </a:cubicBezTo>
                <a:cubicBezTo>
                  <a:pt x="732086" y="36984"/>
                  <a:pt x="734318" y="45492"/>
                  <a:pt x="734318" y="54918"/>
                </a:cubicBezTo>
                <a:cubicBezTo>
                  <a:pt x="734318" y="65137"/>
                  <a:pt x="731565" y="74513"/>
                  <a:pt x="726058" y="83046"/>
                </a:cubicBezTo>
                <a:cubicBezTo>
                  <a:pt x="720551" y="91579"/>
                  <a:pt x="713085" y="97979"/>
                  <a:pt x="703659" y="102245"/>
                </a:cubicBezTo>
                <a:cubicBezTo>
                  <a:pt x="716955" y="106115"/>
                  <a:pt x="727174" y="112713"/>
                  <a:pt x="734318" y="122039"/>
                </a:cubicBezTo>
                <a:cubicBezTo>
                  <a:pt x="741462" y="131366"/>
                  <a:pt x="745034" y="142329"/>
                  <a:pt x="745034" y="154930"/>
                </a:cubicBezTo>
                <a:cubicBezTo>
                  <a:pt x="745034" y="164852"/>
                  <a:pt x="742727" y="174501"/>
                  <a:pt x="738113" y="183877"/>
                </a:cubicBezTo>
                <a:cubicBezTo>
                  <a:pt x="733499" y="193253"/>
                  <a:pt x="727199" y="200744"/>
                  <a:pt x="719212" y="206350"/>
                </a:cubicBezTo>
                <a:cubicBezTo>
                  <a:pt x="711225" y="211956"/>
                  <a:pt x="701377" y="215404"/>
                  <a:pt x="689670" y="216694"/>
                </a:cubicBezTo>
                <a:cubicBezTo>
                  <a:pt x="682327" y="217488"/>
                  <a:pt x="664617" y="217984"/>
                  <a:pt x="636538" y="218182"/>
                </a:cubicBezTo>
                <a:lnTo>
                  <a:pt x="562273" y="218182"/>
                </a:lnTo>
                <a:close/>
                <a:moveTo>
                  <a:pt x="218926" y="0"/>
                </a:moveTo>
                <a:lnTo>
                  <a:pt x="260747" y="0"/>
                </a:lnTo>
                <a:lnTo>
                  <a:pt x="260747" y="38695"/>
                </a:lnTo>
                <a:lnTo>
                  <a:pt x="218926" y="38695"/>
                </a:lnTo>
                <a:close/>
                <a:moveTo>
                  <a:pt x="0" y="0"/>
                </a:moveTo>
                <a:lnTo>
                  <a:pt x="80516" y="0"/>
                </a:lnTo>
                <a:cubicBezTo>
                  <a:pt x="98673" y="0"/>
                  <a:pt x="112514" y="1389"/>
                  <a:pt x="122039" y="4167"/>
                </a:cubicBezTo>
                <a:cubicBezTo>
                  <a:pt x="134838" y="7938"/>
                  <a:pt x="145802" y="14635"/>
                  <a:pt x="154930" y="24259"/>
                </a:cubicBezTo>
                <a:cubicBezTo>
                  <a:pt x="164058" y="33883"/>
                  <a:pt x="171004" y="45666"/>
                  <a:pt x="175766" y="59606"/>
                </a:cubicBezTo>
                <a:cubicBezTo>
                  <a:pt x="180529" y="73546"/>
                  <a:pt x="182910" y="90736"/>
                  <a:pt x="182910" y="111175"/>
                </a:cubicBezTo>
                <a:cubicBezTo>
                  <a:pt x="182910" y="129133"/>
                  <a:pt x="180677" y="144612"/>
                  <a:pt x="176213" y="157609"/>
                </a:cubicBezTo>
                <a:cubicBezTo>
                  <a:pt x="170755" y="173484"/>
                  <a:pt x="162967" y="186333"/>
                  <a:pt x="152847" y="196156"/>
                </a:cubicBezTo>
                <a:cubicBezTo>
                  <a:pt x="145207" y="203597"/>
                  <a:pt x="134888" y="209401"/>
                  <a:pt x="121890" y="213569"/>
                </a:cubicBezTo>
                <a:cubicBezTo>
                  <a:pt x="112167" y="216644"/>
                  <a:pt x="99169" y="218182"/>
                  <a:pt x="82897" y="218182"/>
                </a:cubicBezTo>
                <a:lnTo>
                  <a:pt x="0" y="218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de-DE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8E073262-D595-42F0-9DF0-3D082AFDAA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113825" y="4868863"/>
            <a:ext cx="3742678" cy="1289486"/>
          </a:xfrm>
        </p:spPr>
        <p:txBody>
          <a:bodyPr anchor="b"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201423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5554B08-8CA8-E6EF-A28C-9DA962463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76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54B08-8CA8-E6EF-A28C-9DA962463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5056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16902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748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FC0D689-21D1-4F05-B548-5623C9850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4005263"/>
            <a:ext cx="277177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A8E6CF0-88E6-4258-83B1-724B243BC1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50565" y="4005263"/>
            <a:ext cx="277177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C73755DD-5FC0-4227-B564-A663EE50A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69025" y="4005263"/>
            <a:ext cx="277177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3190325B-B1A6-40A7-9F37-FEF63E54B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087485" y="4005263"/>
            <a:ext cx="277177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9674890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5499D67-D159-8DDA-6386-5B1FA0395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31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499D67-D159-8DDA-6386-5B1FA0395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453188"/>
            <a:ext cx="574675" cy="404812"/>
          </a:xfrm>
        </p:spPr>
        <p:txBody>
          <a:bodyPr/>
          <a:lstStyle>
            <a:lvl1pPr rtl="0">
              <a:defRPr/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799009" cy="1585912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24338" y="1411288"/>
            <a:ext cx="1800225" cy="1585912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124" y="1411288"/>
            <a:ext cx="1800299" cy="1585912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6550" y="4005263"/>
            <a:ext cx="1799010" cy="1583977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AFD9531D-D28C-4494-8AEA-67DB0D62B1C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24338" y="4005263"/>
            <a:ext cx="1800225" cy="1584325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5DF72A33-7BB7-481A-BDD9-873F8214A1A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4005263"/>
            <a:ext cx="1800299" cy="1583977"/>
          </a:xfrm>
          <a:noFill/>
        </p:spPr>
        <p:txBody>
          <a:bodyPr lIns="0" tIns="0" rIns="0" bIns="0" anchor="ctr"/>
          <a:lstStyle>
            <a:lvl1pPr marL="0" indent="0" algn="ctr" rtl="0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D7640FDE-7410-4915-92EE-5E9663522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9551" y="1411288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266778B-D2C6-4F88-99A0-B3CDF5745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167387" y="1411288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D8FED350-D682-4E24-9FD1-805C63A0EA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055224" y="1411288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FEDD2576-803F-41A3-8A60-6AF31E78CE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79551" y="4005263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A7FA28E5-D15A-4E79-8C10-420812F0BF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387" y="4005263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ED35C739-05BA-4B26-BE5F-409001E94A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055224" y="4005263"/>
            <a:ext cx="1800225" cy="2447926"/>
          </a:xfrm>
        </p:spPr>
        <p:txBody>
          <a:bodyPr tIns="0" rIns="144000"/>
          <a:lstStyle>
            <a:lvl1pPr marL="0" indent="0" rtl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 rtl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 rtl="0">
              <a:defRPr/>
            </a:lvl3pPr>
            <a:lvl4pPr marL="180000" indent="-18000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6194472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E92DA2-33D0-86F5-FD84-A89350E99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69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E92DA2-33D0-86F5-FD84-A89350E99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33C611DA-3609-96C6-F3BE-87EC18A07C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gray">
          <a:xfrm>
            <a:off x="4969566" y="2679470"/>
            <a:ext cx="2252868" cy="1501912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64923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etr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9777F3-6842-E997-2976-E4D16C6C8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4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9777F3-6842-E997-2976-E4D16C6C8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D8C1B157-2AE8-A3FD-682C-0C80F25EBE5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invGray">
          <a:xfrm>
            <a:off x="4969565" y="2678044"/>
            <a:ext cx="2252861" cy="1501907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 rtl="0"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560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7005E-355D-1635-3DCA-FB724684B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DD318A-EBDF-78FE-C2CC-7178AF1878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48D0F-71C6-C1E8-17D0-80DF43AC0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AC8BE-7247-5774-0EBE-4728E59D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E0538-682C-8E12-E8DE-7675F4868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5304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27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509474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10672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427337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4979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7700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651283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1159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6689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47397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BEAE1-48C3-4C17-7098-9E793694C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CA563-E1C8-6171-0B1F-204B200DF1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131716-0AE2-F5E2-DE73-92A94E37BD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96567A-7712-9499-37C0-54AF61A5C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262082-C0AB-CB0F-4CE1-9ADD06748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534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96274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9253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52486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577318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841773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1977910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24729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034803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695280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530891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4E111-DF54-A2D0-1483-540E4E8C4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3407BE-A0EE-3DF9-AA3A-F8E8178E7D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25AB37-F2DC-ADBC-837D-0D877EA671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7770C4-E1B7-4879-94A5-6F35B2844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03D692-1CE1-F85A-4693-39F09BCFA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6B8A92-6749-AF21-D02F-B9DF17A50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027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75693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170111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16650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336505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6405791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264831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32742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741214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151775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284967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083D6-5350-F0DD-841F-CD414DAE7B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13FB9F-E08E-6B12-B3E0-A30741AEBA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460FB1-9AFF-155B-0DF6-DA5F75FBCA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E05549-4B17-C5C9-A33A-D7D89DB936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763E3A-960C-A4BC-7918-458B34FA3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B1896E-A0DA-904F-4093-11CA18C20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1A03DF-7FA5-D93D-01FC-51121BEA6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52B974-3076-CB33-9892-89A3A7033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2727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0454362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gradFill>
              <a:gsLst>
                <a:gs pos="0">
                  <a:srgbClr val="73262F"/>
                </a:gs>
                <a:gs pos="100000">
                  <a:srgbClr val="2A446F"/>
                </a:gs>
              </a:gsLst>
              <a:lin ang="5400000" scaled="1"/>
            </a:gra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45755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710309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8168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798417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77004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4037572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8155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colorful hexagons&#10;&#10;AI-generated content may be incorrect.">
            <a:extLst>
              <a:ext uri="{FF2B5EF4-FFF2-40B4-BE49-F238E27FC236}">
                <a16:creationId xmlns:a16="http://schemas.microsoft.com/office/drawing/2014/main" id="{C459F199-2A2D-6CE7-FD4F-C67A96274D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32302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39239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9A55D-EF94-FF33-409A-D0B8B0DA8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23F2C6-019B-A2C5-8710-5EFB19AC36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6C0DCB-46F5-E63A-6B11-959C9EA97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0971FD-08EA-38E9-759E-EBBB5BB74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7948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4023B5-FCD6-2A9F-A834-F37F444390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78" b="102"/>
          <a:stretch/>
        </p:blipFill>
        <p:spPr>
          <a:xfrm>
            <a:off x="3008" y="1693"/>
            <a:ext cx="12188991" cy="6854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FAE4A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3408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41008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2571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9220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484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614322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93239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DeepBlue_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68B17E-A462-AC94-F9C9-0D68B73AC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8565" b="85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wrap="square" anchor="b" anchorCtr="0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D9428AD-B633-02B5-61A5-2A50E8221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870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_TechGreen_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68B17E-A462-AC94-F9C9-0D68B73AC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DE38648-77F3-5DB8-11F5-6C889795D7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921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_ScanPhoto_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F7770F8B-6389-38F6-158F-34F7B9C3CC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" y="0"/>
            <a:ext cx="1219084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737800" cy="1231106"/>
          </a:xfrm>
        </p:spPr>
        <p:txBody>
          <a:bodyPr wrap="square"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73404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3FD98-6E83-047F-16B0-189D367E2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02" y="296820"/>
            <a:ext cx="2876596" cy="86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159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56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5393C8-4CF3-7928-24DD-834595DBF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622FF-D205-E403-8F0B-A9E5B72FE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E51788-1262-5E1B-8171-D82A90B6F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2238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_ScanPhotoYellow_Full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68B17E-A462-AC94-F9C9-0D68B73AC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10" y="0"/>
            <a:ext cx="1218438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860B354-BE5F-C0AC-B3F2-CC18D93014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078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_TechGreen_1/3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511F3E-C2F4-50DE-5931-5DBFE85F1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38751CA-6D44-D7DD-C14B-AA86A71600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163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_ScanPhotoGreen_1/3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511F3E-C2F4-50DE-5931-5DBFE85F1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815E3F5-2509-8AA1-7C04-39C483C403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51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_ScanPhotoYellow_1/3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511F3E-C2F4-50DE-5931-5DBFE85F1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421E148-BBFE-D8FE-072E-60B3306895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698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_DeepBlue_1/3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302431"/>
            <a:ext cx="4167887" cy="1231106"/>
          </a:xfrm>
        </p:spPr>
        <p:txBody>
          <a:bodyPr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A blue and pink background&#10;&#10;Description automatically generated">
            <a:extLst>
              <a:ext uri="{FF2B5EF4-FFF2-40B4-BE49-F238E27FC236}">
                <a16:creationId xmlns:a16="http://schemas.microsoft.com/office/drawing/2014/main" id="{8C511F3E-C2F4-50DE-5931-5DBFE85F1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0000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A7E6D338-DBD7-96C7-88EB-ED6DB0C6F6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389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E9BD52B-1FD8-7732-210F-3AFB690CB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500" y="585789"/>
            <a:ext cx="2291715" cy="2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88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bg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01FD41-9F48-9A53-A036-BAAB2AA381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324" y="298625"/>
            <a:ext cx="2869352" cy="86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80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6090785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72277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21457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C3C0E-4393-0A59-AB62-35058FD8D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68F243-CA97-4D09-2A9E-6351EA70A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3F6228-C757-6264-CC7C-E2D73014C9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855B4A-2E8C-0E26-A7B1-A8E41A415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A953E1-5A7B-15C6-1975-906C0E3F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617736-0487-393A-11DB-09E08499D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5854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Sans Display" pitchFamily="2" charset="0"/>
                <a:cs typeface="Segoe Sans Display" pitchFamily="2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Sans Display" pitchFamily="2" charset="0"/>
                <a:cs typeface="Segoe Sans Display" pitchFamily="2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53327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35366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9555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60617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4537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8914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52252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54437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212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05646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98CDE-BB71-8EEA-B622-0BE474C9A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91FB6D-3750-6BFD-8117-240DC58925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41E5A1-B7D7-A985-4EED-1769D0398F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693B59-48A8-4B13-F0A7-61D1C0B17D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4735F-AA2B-355C-FDEF-AB9AF383C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26696D-CC70-2570-6BE2-5C44C9CBD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8898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094428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264038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396502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855657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025969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570116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527455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081693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54703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122465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3" Type="http://schemas.openxmlformats.org/officeDocument/2006/relationships/image" Target="../media/image8.png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image" Target="../media/image7.sv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8" Type="http://schemas.openxmlformats.org/officeDocument/2006/relationships/slideLayout" Target="../slideLayouts/slideLayout25.xml"/><Relationship Id="rId51" Type="http://schemas.openxmlformats.org/officeDocument/2006/relationships/image" Target="../media/image6.png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image" Target="../media/image9.sv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63" Type="http://schemas.openxmlformats.org/officeDocument/2006/relationships/slideLayout" Target="../slideLayouts/slideLayout129.xml"/><Relationship Id="rId68" Type="http://schemas.openxmlformats.org/officeDocument/2006/relationships/image" Target="../media/image8.png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slideLayout" Target="../slideLayouts/slideLayout119.xml"/><Relationship Id="rId58" Type="http://schemas.openxmlformats.org/officeDocument/2006/relationships/slideLayout" Target="../slideLayouts/slideLayout124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71.xml"/><Relationship Id="rId61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slideLayout" Target="../slideLayouts/slideLayout114.xml"/><Relationship Id="rId56" Type="http://schemas.openxmlformats.org/officeDocument/2006/relationships/slideLayout" Target="../slideLayouts/slideLayout122.xml"/><Relationship Id="rId64" Type="http://schemas.openxmlformats.org/officeDocument/2006/relationships/theme" Target="../theme/theme3.xml"/><Relationship Id="rId69" Type="http://schemas.openxmlformats.org/officeDocument/2006/relationships/image" Target="../media/image9.svg"/><Relationship Id="rId8" Type="http://schemas.openxmlformats.org/officeDocument/2006/relationships/slideLayout" Target="../slideLayouts/slideLayout74.xml"/><Relationship Id="rId51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59" Type="http://schemas.openxmlformats.org/officeDocument/2006/relationships/slideLayout" Target="../slideLayouts/slideLayout125.xml"/><Relationship Id="rId67" Type="http://schemas.openxmlformats.org/officeDocument/2006/relationships/image" Target="../media/image35.emf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slideLayout" Target="../slideLayouts/slideLayout120.xml"/><Relationship Id="rId6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slideLayout" Target="../slideLayouts/slideLayout115.xml"/><Relationship Id="rId57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slideLayout" Target="../slideLayouts/slideLayout118.xml"/><Relationship Id="rId60" Type="http://schemas.openxmlformats.org/officeDocument/2006/relationships/slideLayout" Target="../slideLayouts/slideLayout126.xml"/><Relationship Id="rId65" Type="http://schemas.openxmlformats.org/officeDocument/2006/relationships/tags" Target="../tags/tag1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105.xml"/><Relationship Id="rId34" Type="http://schemas.openxmlformats.org/officeDocument/2006/relationships/slideLayout" Target="../slideLayouts/slideLayout100.xml"/><Relationship Id="rId50" Type="http://schemas.openxmlformats.org/officeDocument/2006/relationships/slideLayout" Target="../slideLayouts/slideLayout116.xml"/><Relationship Id="rId55" Type="http://schemas.openxmlformats.org/officeDocument/2006/relationships/slideLayout" Target="../slideLayouts/slideLayout12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42" Type="http://schemas.openxmlformats.org/officeDocument/2006/relationships/slideLayout" Target="../slideLayouts/slideLayout171.xml"/><Relationship Id="rId47" Type="http://schemas.openxmlformats.org/officeDocument/2006/relationships/slideLayout" Target="../slideLayouts/slideLayout176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9.xml"/><Relationship Id="rId45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49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4" Type="http://schemas.openxmlformats.org/officeDocument/2006/relationships/slideLayout" Target="../slideLayouts/slideLayout173.xml"/><Relationship Id="rId52" Type="http://schemas.openxmlformats.org/officeDocument/2006/relationships/image" Target="../media/image9.svg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slideLayout" Target="../slideLayouts/slideLayout172.xml"/><Relationship Id="rId48" Type="http://schemas.openxmlformats.org/officeDocument/2006/relationships/slideLayout" Target="../slideLayouts/slideLayout177.xml"/><Relationship Id="rId8" Type="http://schemas.openxmlformats.org/officeDocument/2006/relationships/slideLayout" Target="../slideLayouts/slideLayout137.xml"/><Relationship Id="rId51" Type="http://schemas.openxmlformats.org/officeDocument/2006/relationships/image" Target="../media/image8.png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Relationship Id="rId4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81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image" Target="../media/image57.png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image" Target="../media/image56.emf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19C5C-87AE-4900-48C0-7001A2407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01D42D-D545-C968-CAA3-0FD31DD7DC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E3EA70-F5D4-6FD4-1296-AA44DA7A05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51C5639-4210-4315-A4F4-8FC6DC7C5165}" type="datetimeFigureOut">
              <a:rPr lang="en-US" smtClean="0"/>
              <a:t>5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0C9BFD-6D3F-1E87-F9F2-4B6B19F84D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F0FA76-7BB4-B533-0B61-844B491822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0C05BC1-CBB9-4AF4-9200-3EA2F4300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92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67" r:id="rId13"/>
    <p:sldLayoutId id="2147483768" r:id="rId14"/>
    <p:sldLayoutId id="2147483769" r:id="rId15"/>
    <p:sldLayoutId id="2147483770" r:id="rId16"/>
    <p:sldLayoutId id="214748446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blipFill dpi="0" rotWithShape="1">
          <a:blip r:embed="rId51">
            <a:lum/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  <p:grpSp>
        <p:nvGrpSpPr>
          <p:cNvPr id="253" name="Group 252">
            <a:extLst>
              <a:ext uri="{FF2B5EF4-FFF2-40B4-BE49-F238E27FC236}">
                <a16:creationId xmlns:a16="http://schemas.microsoft.com/office/drawing/2014/main" id="{1A9934A0-ED63-83B8-8A45-2955726BAE72}"/>
              </a:ext>
            </a:extLst>
          </p:cNvPr>
          <p:cNvGrpSpPr/>
          <p:nvPr userDrawn="1"/>
        </p:nvGrpSpPr>
        <p:grpSpPr>
          <a:xfrm>
            <a:off x="13785819" y="4641814"/>
            <a:ext cx="932688" cy="1999554"/>
            <a:chOff x="13785819" y="4641814"/>
            <a:chExt cx="932688" cy="1999554"/>
          </a:xfrm>
        </p:grpSpPr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9215BFE-65EE-0FED-3EA1-090FF776F7F9}"/>
                </a:ext>
              </a:extLst>
            </p:cNvPr>
            <p:cNvSpPr txBox="1"/>
            <p:nvPr/>
          </p:nvSpPr>
          <p:spPr>
            <a:xfrm>
              <a:off x="13785819" y="4641814"/>
              <a:ext cx="365760" cy="366254"/>
            </a:xfrm>
            <a:prstGeom prst="rect">
              <a:avLst/>
            </a:prstGeom>
            <a:noFill/>
          </p:spPr>
          <p:txBody>
            <a:bodyPr wrap="square" lIns="0" tIns="0" rIns="0" bIns="256032" rtlCol="0" anchor="b" anchorCtr="0">
              <a:spAutoFit/>
            </a:bodyPr>
            <a:lstStyle/>
            <a:p>
              <a:r>
                <a:rPr lang="en-US" sz="7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Semibold" panose="020B0702040204020203" pitchFamily="34" charset="0"/>
                  <a:cs typeface="Segoe UI" pitchFamily="34" charset="0"/>
                </a:rPr>
                <a:t>Theme 6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6011E263-3A6D-604A-AC4E-0BC2FE23D0D5}"/>
                </a:ext>
              </a:extLst>
            </p:cNvPr>
            <p:cNvSpPr txBox="1"/>
            <p:nvPr/>
          </p:nvSpPr>
          <p:spPr>
            <a:xfrm>
              <a:off x="13785819" y="5052105"/>
              <a:ext cx="731520" cy="366254"/>
            </a:xfrm>
            <a:prstGeom prst="rect">
              <a:avLst/>
            </a:prstGeom>
            <a:noFill/>
          </p:spPr>
          <p:txBody>
            <a:bodyPr wrap="square" lIns="0" tIns="0" rIns="0" bIns="256032" rtlCol="0" anchor="b" anchorCtr="0">
              <a:spAutoFit/>
            </a:bodyPr>
            <a:lstStyle>
              <a:defPPr>
                <a:defRPr lang="en-US"/>
              </a:defPPr>
              <a:lvl1pPr>
                <a:defRPr sz="7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1pPr>
            </a:lstStyle>
            <a:p>
              <a:r>
                <a:rPr lang="en-US">
                  <a:latin typeface="Segoe UI Semibold" panose="020B0702040204020203" pitchFamily="34" charset="0"/>
                </a:rPr>
                <a:t>Colored header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AFC3F51-4BF7-B4DC-486C-029A50C3FE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3785819" y="5176703"/>
              <a:ext cx="457200" cy="241657"/>
            </a:xfrm>
            <a:prstGeom prst="rect">
              <a:avLst/>
            </a:prstGeom>
            <a:solidFill>
              <a:srgbClr val="152237"/>
            </a:solidFill>
            <a:ln>
              <a:noFill/>
            </a:ln>
          </p:spPr>
          <p:txBody>
            <a:bodyPr wrap="square" lIns="91440" tIns="0" rIns="0" bIns="9144" rtlCol="0" anchor="ctr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lvl="1" defTabSz="932780">
                <a:spcBef>
                  <a:spcPct val="20000"/>
                </a:spcBef>
                <a:buSzPct val="90000"/>
                <a:defRPr sz="9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693B2FFC-63A6-574E-CDCF-C1D8BD98E4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3785819" y="5176703"/>
              <a:ext cx="457200" cy="241657"/>
            </a:xfrm>
            <a:prstGeom prst="rtTriangle">
              <a:avLst/>
            </a:prstGeom>
            <a:solidFill>
              <a:srgbClr val="A9D5ED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marR="0" lvl="1" indent="0" defTabSz="93278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 sz="600" b="1">
                  <a:ln w="3175">
                    <a:noFill/>
                  </a:ln>
                  <a:gradFill>
                    <a:gsLst>
                      <a:gs pos="90826">
                        <a:srgbClr val="FFFFFF"/>
                      </a:gs>
                      <a:gs pos="65000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AE56A1A4-6835-9145-03D7-B066FE1EF121}"/>
                </a:ext>
              </a:extLst>
            </p:cNvPr>
            <p:cNvSpPr txBox="1"/>
            <p:nvPr/>
          </p:nvSpPr>
          <p:spPr>
            <a:xfrm>
              <a:off x="13785819" y="5458465"/>
              <a:ext cx="546261" cy="366254"/>
            </a:xfrm>
            <a:prstGeom prst="rect">
              <a:avLst/>
            </a:prstGeom>
            <a:noFill/>
          </p:spPr>
          <p:txBody>
            <a:bodyPr wrap="square" lIns="0" tIns="0" rIns="0" bIns="256032" rtlCol="0" anchor="b" anchorCtr="0">
              <a:spAutoFit/>
            </a:bodyPr>
            <a:lstStyle>
              <a:defPPr>
                <a:defRPr lang="en-US"/>
              </a:defPPr>
              <a:lvl1pPr>
                <a:defRPr sz="7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1pPr>
            </a:lstStyle>
            <a:p>
              <a:r>
                <a:rPr lang="en-US">
                  <a:latin typeface="Segoe UI Semibold" panose="020B0702040204020203" pitchFamily="34" charset="0"/>
                </a:rPr>
                <a:t>Container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B9B1AC30-474B-A703-7ACE-157AF3EA9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3785819" y="5583062"/>
              <a:ext cx="457200" cy="241657"/>
            </a:xfrm>
            <a:prstGeom prst="rect">
              <a:avLst/>
            </a:prstGeom>
            <a:solidFill>
              <a:srgbClr val="2A446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lvl="1" defTabSz="932780">
                <a:spcBef>
                  <a:spcPct val="20000"/>
                </a:spcBef>
                <a:buSzPct val="90000"/>
                <a:defRPr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C5686F6-0E3C-296C-D0D7-33F55F829D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4261307" y="5583062"/>
              <a:ext cx="457200" cy="241657"/>
            </a:xfrm>
            <a:prstGeom prst="rect">
              <a:avLst/>
            </a:prstGeom>
            <a:solidFill>
              <a:srgbClr val="73262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lvl="1" defTabSz="932780">
                <a:spcBef>
                  <a:spcPct val="20000"/>
                </a:spcBef>
                <a:buSzPct val="90000"/>
                <a:defRPr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7FB6DDC-716F-6BEC-FA45-2AD48CA777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4261307" y="5583062"/>
              <a:ext cx="457200" cy="241657"/>
            </a:xfrm>
            <a:prstGeom prst="rtTriangle">
              <a:avLst/>
            </a:prstGeom>
            <a:solidFill>
              <a:srgbClr val="FFECEE"/>
            </a:solidFill>
            <a:ln>
              <a:noFill/>
            </a:ln>
          </p:spPr>
          <p:txBody>
            <a:bodyPr wrap="square" lIns="91440" tIns="0" rIns="0" bIns="9144" rtlCol="0" anchor="ctr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marR="0" lvl="1" indent="0" defTabSz="93278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 sz="9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EC19A743-E461-8A54-B310-4C43E01B81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3785819" y="5583062"/>
              <a:ext cx="457200" cy="241657"/>
            </a:xfrm>
            <a:prstGeom prst="rtTriangle">
              <a:avLst/>
            </a:prstGeom>
            <a:solidFill>
              <a:srgbClr val="E2F1F9"/>
            </a:solidFill>
            <a:ln>
              <a:noFill/>
            </a:ln>
          </p:spPr>
          <p:txBody>
            <a:bodyPr wrap="square" lIns="91440" tIns="0" rIns="0" bIns="9144" rtlCol="0" anchor="ctr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marR="0" lvl="1" indent="0" defTabSz="93278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 sz="9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DCE2BB5-8E0F-E91E-ECC2-05E4AF9D9636}"/>
                </a:ext>
              </a:extLst>
            </p:cNvPr>
            <p:cNvSpPr txBox="1"/>
            <p:nvPr/>
          </p:nvSpPr>
          <p:spPr>
            <a:xfrm>
              <a:off x="13785819" y="5864824"/>
              <a:ext cx="592763" cy="366254"/>
            </a:xfrm>
            <a:prstGeom prst="rect">
              <a:avLst/>
            </a:prstGeom>
            <a:noFill/>
          </p:spPr>
          <p:txBody>
            <a:bodyPr wrap="square" lIns="0" tIns="0" rIns="0" bIns="256032" rtlCol="0" anchor="b" anchorCtr="0">
              <a:spAutoFit/>
            </a:bodyPr>
            <a:lstStyle>
              <a:defPPr>
                <a:defRPr lang="en-US"/>
              </a:defPPr>
              <a:lvl1pPr>
                <a:defRPr sz="7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1pPr>
            </a:lstStyle>
            <a:p>
              <a:r>
                <a:rPr lang="en-US">
                  <a:latin typeface="Segoe UI Semibold" panose="020B0702040204020203" pitchFamily="34" charset="0"/>
                </a:rPr>
                <a:t>Light overlay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FB9645C-B53E-6332-146A-A019D5D25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4261307" y="5989421"/>
              <a:ext cx="457200" cy="241657"/>
            </a:xfrm>
            <a:prstGeom prst="rect">
              <a:avLst/>
            </a:prstGeom>
            <a:solidFill>
              <a:srgbClr val="FFECEE"/>
            </a:solidFill>
            <a:ln>
              <a:noFill/>
            </a:ln>
          </p:spPr>
          <p:txBody>
            <a:bodyPr wrap="square" lIns="91440" tIns="0" rIns="0" bIns="9144" rtlCol="0" anchor="ctr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marR="0" lvl="1" indent="0" defTabSz="93278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 sz="9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ECE2B9A-77D2-1BA5-305E-FC2C98ABDA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3785819" y="5989421"/>
              <a:ext cx="457200" cy="241657"/>
            </a:xfrm>
            <a:prstGeom prst="rect">
              <a:avLst/>
            </a:prstGeom>
            <a:solidFill>
              <a:srgbClr val="E2F1F9"/>
            </a:solidFill>
            <a:ln>
              <a:noFill/>
            </a:ln>
          </p:spPr>
          <p:txBody>
            <a:bodyPr wrap="square" lIns="91440" tIns="0" rIns="0" bIns="9144" rtlCol="0" anchor="ctr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marR="0" lvl="1" indent="0" defTabSz="93278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 sz="9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98E51973-834A-ACD7-3D0C-4EA92EFD4931}"/>
                </a:ext>
              </a:extLst>
            </p:cNvPr>
            <p:cNvSpPr txBox="1"/>
            <p:nvPr/>
          </p:nvSpPr>
          <p:spPr>
            <a:xfrm>
              <a:off x="13785819" y="6275114"/>
              <a:ext cx="546261" cy="366254"/>
            </a:xfrm>
            <a:prstGeom prst="rect">
              <a:avLst/>
            </a:prstGeom>
            <a:noFill/>
          </p:spPr>
          <p:txBody>
            <a:bodyPr wrap="square" lIns="0" tIns="0" rIns="0" bIns="256032" rtlCol="0" anchor="b" anchorCtr="0">
              <a:spAutoFit/>
            </a:bodyPr>
            <a:lstStyle>
              <a:defPPr>
                <a:defRPr lang="en-US"/>
              </a:defPPr>
              <a:lvl1pPr>
                <a:defRPr sz="7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1pPr>
            </a:lstStyle>
            <a:p>
              <a:r>
                <a:rPr lang="en-US">
                  <a:latin typeface="Segoe UI Semibold" panose="020B0702040204020203" pitchFamily="34" charset="0"/>
                </a:rPr>
                <a:t>Dark overlay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34FF3948-B9F0-37C6-DA24-2A48FECEFE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3785819" y="6399711"/>
              <a:ext cx="457200" cy="241657"/>
            </a:xfrm>
            <a:prstGeom prst="rect">
              <a:avLst/>
            </a:prstGeom>
            <a:solidFill>
              <a:srgbClr val="2A446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lvl="1" defTabSz="932780">
                <a:spcBef>
                  <a:spcPct val="20000"/>
                </a:spcBef>
                <a:buSzPct val="90000"/>
                <a:defRPr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143B88DC-A86F-018F-FAC8-9743F5C922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4261307" y="6399711"/>
              <a:ext cx="457200" cy="241657"/>
            </a:xfrm>
            <a:prstGeom prst="rect">
              <a:avLst/>
            </a:prstGeom>
            <a:solidFill>
              <a:srgbClr val="73262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 marL="0" lvl="1" defTabSz="932780">
                <a:spcBef>
                  <a:spcPct val="20000"/>
                </a:spcBef>
                <a:buSzPct val="90000"/>
                <a:defRPr sz="600" b="1">
                  <a:ln w="3175">
                    <a:noFill/>
                  </a:ln>
                  <a:gradFill>
                    <a:gsLst>
                      <a:gs pos="9174">
                        <a:schemeClr val="tx1"/>
                      </a:gs>
                      <a:gs pos="42000">
                        <a:schemeClr val="tx1"/>
                      </a:gs>
                    </a:gsLst>
                    <a:path path="circle">
                      <a:fillToRect l="100000" t="100000"/>
                    </a:path>
                  </a:gradFill>
                  <a:latin typeface="Segoe UI Variable Display Semibold" pitchFamily="2" charset="0"/>
                  <a:cs typeface="Segoe UI" pitchFamily="34" charset="0"/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CA">
                <a:latin typeface="Segoe UI Semibold" panose="020B0702040204020203" pitchFamily="34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67AC378F-99EB-1822-4800-A2426838DD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3785819" y="4766412"/>
              <a:ext cx="457200" cy="241657"/>
            </a:xfrm>
            <a:prstGeom prst="rect">
              <a:avLst/>
            </a:prstGeom>
            <a:solidFill>
              <a:srgbClr val="A9D5ED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1" indent="0" algn="l" defTabSz="93278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lang="en-CA" sz="600" b="1">
                <a:ln w="3175">
                  <a:noFill/>
                </a:ln>
                <a:gradFill>
                  <a:gsLst>
                    <a:gs pos="90826">
                      <a:srgbClr val="FFFFFF"/>
                    </a:gs>
                    <a:gs pos="6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702040204020203" pitchFamily="34" charset="0"/>
                <a:cs typeface="Segoe UI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AE8866C4-A506-56F2-37FD-DC10EFA8DA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4261307" y="4766412"/>
              <a:ext cx="457200" cy="241657"/>
            </a:xfrm>
            <a:prstGeom prst="rect">
              <a:avLst/>
            </a:prstGeom>
            <a:solidFill>
              <a:srgbClr val="FFC6CC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1" indent="0" algn="l" defTabSz="93278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lang="en-CA" sz="600" b="1">
                <a:ln w="3175">
                  <a:noFill/>
                </a:ln>
                <a:gradFill>
                  <a:gsLst>
                    <a:gs pos="90826">
                      <a:srgbClr val="FFFFFF"/>
                    </a:gs>
                    <a:gs pos="65000">
                      <a:srgbClr val="FFFFFF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702040204020203" pitchFamily="34" charset="0"/>
                <a:cs typeface="Segoe UI" pitchFamily="34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6C10A508-C6B5-8EE2-2417-99D45B7453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3785819" y="4766412"/>
              <a:ext cx="457200" cy="241657"/>
            </a:xfrm>
            <a:prstGeom prst="rtTriangle">
              <a:avLst/>
            </a:prstGeom>
            <a:solidFill>
              <a:srgbClr val="2A446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lvl="1" defTabSz="932780">
                <a:spcBef>
                  <a:spcPct val="20000"/>
                </a:spcBef>
                <a:buSzPct val="90000"/>
                <a:defRPr/>
              </a:pPr>
              <a:endParaRPr lang="en-CA" sz="600" b="1">
                <a:ln w="3175">
                  <a:noFill/>
                </a:ln>
                <a:gradFill>
                  <a:gsLst>
                    <a:gs pos="9174">
                      <a:schemeClr val="tx1"/>
                    </a:gs>
                    <a:gs pos="42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702040204020203" pitchFamily="34" charset="0"/>
                <a:cs typeface="Segoe UI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6DBFBC4D-69B1-222B-376C-802D7AB462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4261307" y="4766412"/>
              <a:ext cx="457200" cy="241657"/>
            </a:xfrm>
            <a:prstGeom prst="rtTriangle">
              <a:avLst/>
            </a:prstGeom>
            <a:solidFill>
              <a:srgbClr val="73262F"/>
            </a:solidFill>
            <a:ln>
              <a:noFill/>
            </a:ln>
          </p:spPr>
          <p:txBody>
            <a:bodyPr wrap="square" lIns="45720" tIns="18288" rIns="0" bIns="0" rtlCol="0" anchor="t" anchorCtr="0">
              <a:noAutofit/>
            </a:bodyPr>
            <a:lstStyle>
              <a:defPPr>
                <a:defRPr lang="en-US"/>
              </a:defPPr>
              <a:lvl1pPr algn="ctr" defTabSz="2275850" fontAlgn="base">
                <a:spcBef>
                  <a:spcPct val="0"/>
                </a:spcBef>
                <a:spcAft>
                  <a:spcPct val="0"/>
                </a:spcAft>
                <a:tabLst>
                  <a:tab pos="3701239" algn="l"/>
                </a:tabLst>
                <a:defRPr sz="6000" b="1">
                  <a:ln w="3175">
                    <a:noFill/>
                  </a:ln>
                  <a:gradFill>
                    <a:gsLst>
                      <a:gs pos="53147">
                        <a:srgbClr val="FFFFFF"/>
                      </a:gs>
                      <a:gs pos="2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Segoe UI Variable Display Semib" pitchFamily="2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lvl="1" defTabSz="932780">
                <a:spcBef>
                  <a:spcPct val="20000"/>
                </a:spcBef>
                <a:buSzPct val="90000"/>
                <a:defRPr/>
              </a:pPr>
              <a:endParaRPr lang="en-CA" sz="600" b="1">
                <a:ln w="3175">
                  <a:noFill/>
                </a:ln>
                <a:gradFill>
                  <a:gsLst>
                    <a:gs pos="9174">
                      <a:schemeClr val="tx1"/>
                    </a:gs>
                    <a:gs pos="42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702040204020203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9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  <p:sldLayoutId id="2147484119" r:id="rId20"/>
    <p:sldLayoutId id="2147484120" r:id="rId21"/>
    <p:sldLayoutId id="2147484121" r:id="rId22"/>
    <p:sldLayoutId id="2147484122" r:id="rId23"/>
    <p:sldLayoutId id="2147484123" r:id="rId24"/>
    <p:sldLayoutId id="2147484124" r:id="rId25"/>
    <p:sldLayoutId id="2147484125" r:id="rId26"/>
    <p:sldLayoutId id="2147484126" r:id="rId27"/>
    <p:sldLayoutId id="2147484127" r:id="rId28"/>
    <p:sldLayoutId id="2147484128" r:id="rId29"/>
    <p:sldLayoutId id="2147484129" r:id="rId30"/>
    <p:sldLayoutId id="2147484130" r:id="rId31"/>
    <p:sldLayoutId id="2147484131" r:id="rId32"/>
    <p:sldLayoutId id="2147484132" r:id="rId33"/>
    <p:sldLayoutId id="2147484133" r:id="rId34"/>
    <p:sldLayoutId id="2147484134" r:id="rId35"/>
    <p:sldLayoutId id="2147484135" r:id="rId36"/>
    <p:sldLayoutId id="2147484136" r:id="rId37"/>
    <p:sldLayoutId id="2147484137" r:id="rId38"/>
    <p:sldLayoutId id="2147484138" r:id="rId39"/>
    <p:sldLayoutId id="2147484139" r:id="rId40"/>
    <p:sldLayoutId id="2147484140" r:id="rId41"/>
    <p:sldLayoutId id="2147484141" r:id="rId42"/>
    <p:sldLayoutId id="2147484142" r:id="rId43"/>
    <p:sldLayoutId id="2147484143" r:id="rId44"/>
    <p:sldLayoutId id="2147484144" r:id="rId45"/>
    <p:sldLayoutId id="2147484145" r:id="rId46"/>
    <p:sldLayoutId id="2147484146" r:id="rId47"/>
    <p:sldLayoutId id="2147484147" r:id="rId48"/>
    <p:sldLayoutId id="2147484148" r:id="rId4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08285D-D94C-6929-B5F5-3E8471C0E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103297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532" imgH="530" progId="TCLayout.ActiveDocument.1">
                  <p:embed/>
                </p:oleObj>
              </mc:Choice>
              <mc:Fallback>
                <p:oleObj name="think-cell Slide" r:id="rId66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08285D-D94C-6929-B5F5-3E8471C0E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410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  <p:sldLayoutId id="2147484258" r:id="rId9"/>
    <p:sldLayoutId id="2147484259" r:id="rId10"/>
    <p:sldLayoutId id="2147484260" r:id="rId11"/>
    <p:sldLayoutId id="2147484261" r:id="rId12"/>
    <p:sldLayoutId id="2147484262" r:id="rId13"/>
    <p:sldLayoutId id="2147484263" r:id="rId14"/>
    <p:sldLayoutId id="2147484264" r:id="rId15"/>
    <p:sldLayoutId id="2147484265" r:id="rId16"/>
    <p:sldLayoutId id="2147484266" r:id="rId17"/>
    <p:sldLayoutId id="2147484267" r:id="rId18"/>
    <p:sldLayoutId id="2147484268" r:id="rId19"/>
    <p:sldLayoutId id="2147484269" r:id="rId20"/>
    <p:sldLayoutId id="2147484270" r:id="rId21"/>
    <p:sldLayoutId id="2147484271" r:id="rId22"/>
    <p:sldLayoutId id="2147484272" r:id="rId23"/>
    <p:sldLayoutId id="2147484273" r:id="rId24"/>
    <p:sldLayoutId id="2147484274" r:id="rId25"/>
    <p:sldLayoutId id="2147484275" r:id="rId26"/>
    <p:sldLayoutId id="2147484276" r:id="rId27"/>
    <p:sldLayoutId id="2147484277" r:id="rId28"/>
    <p:sldLayoutId id="2147484278" r:id="rId29"/>
    <p:sldLayoutId id="2147484279" r:id="rId30"/>
    <p:sldLayoutId id="2147484280" r:id="rId31"/>
    <p:sldLayoutId id="2147484281" r:id="rId32"/>
    <p:sldLayoutId id="2147484282" r:id="rId33"/>
    <p:sldLayoutId id="2147484283" r:id="rId34"/>
    <p:sldLayoutId id="2147484284" r:id="rId35"/>
    <p:sldLayoutId id="2147484285" r:id="rId36"/>
    <p:sldLayoutId id="2147484286" r:id="rId37"/>
    <p:sldLayoutId id="2147484287" r:id="rId38"/>
    <p:sldLayoutId id="2147484288" r:id="rId39"/>
    <p:sldLayoutId id="2147484289" r:id="rId40"/>
    <p:sldLayoutId id="2147484290" r:id="rId41"/>
    <p:sldLayoutId id="2147484291" r:id="rId42"/>
    <p:sldLayoutId id="2147484292" r:id="rId43"/>
    <p:sldLayoutId id="2147484293" r:id="rId44"/>
    <p:sldLayoutId id="2147484294" r:id="rId45"/>
    <p:sldLayoutId id="2147484295" r:id="rId46"/>
    <p:sldLayoutId id="2147484296" r:id="rId47"/>
    <p:sldLayoutId id="2147484297" r:id="rId48"/>
    <p:sldLayoutId id="2147484298" r:id="rId49"/>
    <p:sldLayoutId id="2147484299" r:id="rId50"/>
    <p:sldLayoutId id="2147484300" r:id="rId51"/>
    <p:sldLayoutId id="2147484301" r:id="rId52"/>
    <p:sldLayoutId id="2147484302" r:id="rId53"/>
    <p:sldLayoutId id="2147484303" r:id="rId54"/>
    <p:sldLayoutId id="2147484304" r:id="rId55"/>
    <p:sldLayoutId id="2147484305" r:id="rId56"/>
    <p:sldLayoutId id="2147484306" r:id="rId57"/>
    <p:sldLayoutId id="2147484307" r:id="rId58"/>
    <p:sldLayoutId id="2147484308" r:id="rId59"/>
    <p:sldLayoutId id="2147484309" r:id="rId60"/>
    <p:sldLayoutId id="2147484310" r:id="rId61"/>
    <p:sldLayoutId id="2147484311" r:id="rId62"/>
    <p:sldLayoutId id="2147484312" r:id="rId6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Sans Display" pitchFamily="2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Sans Display" pitchFamily="2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68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07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7" r:id="rId9"/>
    <p:sldLayoutId id="2147485458" r:id="rId10"/>
    <p:sldLayoutId id="2147485459" r:id="rId11"/>
    <p:sldLayoutId id="2147485460" r:id="rId12"/>
    <p:sldLayoutId id="2147485461" r:id="rId13"/>
    <p:sldLayoutId id="2147485462" r:id="rId14"/>
    <p:sldLayoutId id="2147485463" r:id="rId15"/>
    <p:sldLayoutId id="2147485464" r:id="rId16"/>
    <p:sldLayoutId id="2147485465" r:id="rId17"/>
    <p:sldLayoutId id="2147485466" r:id="rId18"/>
    <p:sldLayoutId id="2147485467" r:id="rId19"/>
    <p:sldLayoutId id="2147485468" r:id="rId20"/>
    <p:sldLayoutId id="2147485469" r:id="rId21"/>
    <p:sldLayoutId id="2147485470" r:id="rId22"/>
    <p:sldLayoutId id="2147485471" r:id="rId23"/>
    <p:sldLayoutId id="2147485472" r:id="rId24"/>
    <p:sldLayoutId id="2147485473" r:id="rId25"/>
    <p:sldLayoutId id="2147485474" r:id="rId26"/>
    <p:sldLayoutId id="2147485475" r:id="rId27"/>
    <p:sldLayoutId id="2147485476" r:id="rId28"/>
    <p:sldLayoutId id="2147485477" r:id="rId29"/>
    <p:sldLayoutId id="2147485478" r:id="rId30"/>
    <p:sldLayoutId id="2147485479" r:id="rId31"/>
    <p:sldLayoutId id="2147485480" r:id="rId32"/>
    <p:sldLayoutId id="2147485481" r:id="rId33"/>
    <p:sldLayoutId id="2147485482" r:id="rId34"/>
    <p:sldLayoutId id="2147485483" r:id="rId35"/>
    <p:sldLayoutId id="2147485484" r:id="rId36"/>
    <p:sldLayoutId id="2147485485" r:id="rId37"/>
    <p:sldLayoutId id="2147485486" r:id="rId38"/>
    <p:sldLayoutId id="2147485487" r:id="rId39"/>
    <p:sldLayoutId id="2147485488" r:id="rId40"/>
    <p:sldLayoutId id="2147485489" r:id="rId41"/>
    <p:sldLayoutId id="2147485490" r:id="rId42"/>
    <p:sldLayoutId id="2147485491" r:id="rId43"/>
    <p:sldLayoutId id="2147485492" r:id="rId44"/>
    <p:sldLayoutId id="2147485493" r:id="rId45"/>
    <p:sldLayoutId id="2147485494" r:id="rId46"/>
    <p:sldLayoutId id="2147485495" r:id="rId47"/>
    <p:sldLayoutId id="2147485496" r:id="rId48"/>
    <p:sldLayoutId id="2147485603" r:id="rId4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96162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08" imgH="408" progId="TCLayout.ActiveDocument.1">
                  <p:embed/>
                </p:oleObj>
              </mc:Choice>
              <mc:Fallback>
                <p:oleObj name="think-cell Folie" r:id="rId22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550" y="1411289"/>
            <a:ext cx="7631106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6550" y="6453188"/>
            <a:ext cx="8634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51684" y="6453188"/>
            <a:ext cx="568911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Gerald Ertl, CIO-PU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 rtl="0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68F2A8F-EF43-D963-5740-5F9CD105A6CF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 bwMode="gray">
          <a:xfrm>
            <a:off x="11521947" y="260260"/>
            <a:ext cx="333502" cy="28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4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09" r:id="rId1"/>
    <p:sldLayoutId id="2147485610" r:id="rId2"/>
    <p:sldLayoutId id="2147485611" r:id="rId3"/>
    <p:sldLayoutId id="2147485612" r:id="rId4"/>
    <p:sldLayoutId id="2147485613" r:id="rId5"/>
    <p:sldLayoutId id="2147485614" r:id="rId6"/>
    <p:sldLayoutId id="2147485615" r:id="rId7"/>
    <p:sldLayoutId id="2147485616" r:id="rId8"/>
    <p:sldLayoutId id="2147485617" r:id="rId9"/>
    <p:sldLayoutId id="2147485618" r:id="rId10"/>
    <p:sldLayoutId id="2147485619" r:id="rId11"/>
    <p:sldLayoutId id="2147485620" r:id="rId12"/>
    <p:sldLayoutId id="2147485621" r:id="rId13"/>
    <p:sldLayoutId id="2147485622" r:id="rId14"/>
    <p:sldLayoutId id="2147485623" r:id="rId15"/>
    <p:sldLayoutId id="2147485624" r:id="rId16"/>
    <p:sldLayoutId id="2147485625" r:id="rId17"/>
    <p:sldLayoutId id="2147485626" r:id="rId18"/>
    <p:sldLayoutId id="2147485627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>
          <p15:clr>
            <a:srgbClr val="F26B43"/>
          </p15:clr>
        </p15:guide>
        <p15:guide id="5" orient="horz" pos="889">
          <p15:clr>
            <a:srgbClr val="F26B43"/>
          </p15:clr>
        </p15:guide>
        <p15:guide id="21" orient="horz" pos="3067">
          <p15:clr>
            <a:srgbClr val="F26B43"/>
          </p15:clr>
        </p15:guide>
        <p15:guide id="23" orient="horz" pos="4065">
          <p15:clr>
            <a:srgbClr val="F26B43"/>
          </p15:clr>
        </p15:guide>
        <p15:guide id="26" pos="212">
          <p15:clr>
            <a:srgbClr val="F26B43"/>
          </p15:clr>
        </p15:guide>
        <p15:guide id="28" pos="3885">
          <p15:clr>
            <a:srgbClr val="F26B43"/>
          </p15:clr>
        </p15:guide>
        <p15:guide id="45" pos="7469">
          <p15:clr>
            <a:srgbClr val="F26B43"/>
          </p15:clr>
        </p15:guide>
        <p15:guide id="46" orient="horz" pos="2976">
          <p15:clr>
            <a:srgbClr val="F26B43"/>
          </p15:clr>
        </p15:guide>
        <p15:guide id="47" orient="horz" pos="2523">
          <p15:clr>
            <a:srgbClr val="F26B43"/>
          </p15:clr>
        </p15:guide>
        <p15:guide id="48" orient="horz" pos="2432">
          <p15:clr>
            <a:srgbClr val="F26B43"/>
          </p15:clr>
        </p15:guide>
        <p15:guide id="49" orient="horz" pos="1979">
          <p15:clr>
            <a:srgbClr val="F26B43"/>
          </p15:clr>
        </p15:guide>
        <p15:guide id="50" orient="horz" pos="1888">
          <p15:clr>
            <a:srgbClr val="F26B43"/>
          </p15:clr>
        </p15:guide>
        <p15:guide id="51" pos="3795">
          <p15:clr>
            <a:srgbClr val="F26B43"/>
          </p15:clr>
        </p15:guide>
        <p15:guide id="52" pos="2661">
          <p15:clr>
            <a:srgbClr val="F26B43"/>
          </p15:clr>
        </p15:guide>
        <p15:guide id="53" pos="2570">
          <p15:clr>
            <a:srgbClr val="F26B43"/>
          </p15:clr>
        </p15:guide>
        <p15:guide id="54" pos="2048">
          <p15:clr>
            <a:srgbClr val="F26B43"/>
          </p15:clr>
        </p15:guide>
        <p15:guide id="55" pos="1958">
          <p15:clr>
            <a:srgbClr val="F26B43"/>
          </p15:clr>
        </p15:guide>
        <p15:guide id="56" pos="5019">
          <p15:clr>
            <a:srgbClr val="F26B43"/>
          </p15:clr>
        </p15:guide>
        <p15:guide id="57" pos="5110">
          <p15:clr>
            <a:srgbClr val="F26B43"/>
          </p15:clr>
        </p15:guide>
        <p15:guide id="58" pos="5632">
          <p15:clr>
            <a:srgbClr val="F26B43"/>
          </p15:clr>
        </p15:guide>
        <p15:guide id="59" pos="57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7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71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ckinsey.com/capabilities/quantumblack/our-insights/the-state-of-ai?utm_source=chatgpt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worklab/work-trend-index/2025-the-year-the-frontier-firm-is-bor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4" Type="http://schemas.openxmlformats.org/officeDocument/2006/relationships/hyperlink" Target="https://kpmg.com/xx/en/our-insights/ai-and-technology/trust-attitudes-and-use-of-ai.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ssets.publishing.service.gov.uk/media/679a0c48a77d250007d313ee/International_AI_Safety_Report_2025_accessible_f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5" Type="http://schemas.openxmlformats.org/officeDocument/2006/relationships/hyperlink" Target="https://kpmg.com/xx/en/our-insights/ai-and-technology/trust-attitudes-and-use-of-ai.html" TargetMode="External"/><Relationship Id="rId4" Type="http://schemas.openxmlformats.org/officeDocument/2006/relationships/image" Target="../media/image69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5" Type="http://schemas.openxmlformats.org/officeDocument/2006/relationships/hyperlink" Target="https://kpmg.com/xx/en/our-insights/ai-and-technology/trust-attitudes-and-use-of-ai.html" TargetMode="External"/><Relationship Id="rId4" Type="http://schemas.openxmlformats.org/officeDocument/2006/relationships/image" Target="../media/image69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BCE0119-F82F-75EF-0AAE-422A9B46340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74750" y="457200"/>
            <a:ext cx="11017250" cy="554038"/>
          </a:xfrm>
        </p:spPr>
        <p:txBody>
          <a:bodyPr>
            <a:normAutofit fontScale="90000"/>
          </a:bodyPr>
          <a:lstStyle/>
          <a:p>
            <a:r>
              <a:rPr lang="en-US">
                <a:noFill/>
              </a:rPr>
              <a:t>CEO Connections</a:t>
            </a:r>
          </a:p>
        </p:txBody>
      </p:sp>
    </p:spTree>
    <p:extLst>
      <p:ext uri="{BB962C8B-B14F-4D97-AF65-F5344CB8AC3E}">
        <p14:creationId xmlns:p14="http://schemas.microsoft.com/office/powerpoint/2010/main" val="10808578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71AFF-A402-DF59-2924-206017E01C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CFF241AF-C48F-378A-49A4-3C5B013645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51197" y="1462251"/>
            <a:ext cx="4029574" cy="3933498"/>
          </a:xfrm>
          <a:prstGeom prst="ellipse">
            <a:avLst/>
          </a:prstGeom>
          <a:solidFill>
            <a:srgbClr val="8DC8E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AED4FDE-B5A2-6DD5-DF68-D382DAD911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511229" y="1462251"/>
            <a:ext cx="4029574" cy="3933498"/>
          </a:xfrm>
          <a:prstGeom prst="ellipse">
            <a:avLst/>
          </a:prstGeom>
          <a:solidFill>
            <a:srgbClr val="8DC8E8"/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A99CCC9-EBC7-9917-22DD-5C57224E1C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51197" y="2197906"/>
            <a:ext cx="889606" cy="2462186"/>
          </a:xfrm>
          <a:custGeom>
            <a:avLst/>
            <a:gdLst>
              <a:gd name="connsiteX0" fmla="*/ 444803 w 889606"/>
              <a:gd name="connsiteY0" fmla="*/ 0 h 2462186"/>
              <a:gd name="connsiteX1" fmla="*/ 545512 w 889606"/>
              <a:gd name="connsiteY1" fmla="*/ 131465 h 2462186"/>
              <a:gd name="connsiteX2" fmla="*/ 889606 w 889606"/>
              <a:gd name="connsiteY2" fmla="*/ 1231093 h 2462186"/>
              <a:gd name="connsiteX3" fmla="*/ 545512 w 889606"/>
              <a:gd name="connsiteY3" fmla="*/ 2330721 h 2462186"/>
              <a:gd name="connsiteX4" fmla="*/ 444803 w 889606"/>
              <a:gd name="connsiteY4" fmla="*/ 2462186 h 2462186"/>
              <a:gd name="connsiteX5" fmla="*/ 344094 w 889606"/>
              <a:gd name="connsiteY5" fmla="*/ 2330721 h 2462186"/>
              <a:gd name="connsiteX6" fmla="*/ 0 w 889606"/>
              <a:gd name="connsiteY6" fmla="*/ 1231093 h 2462186"/>
              <a:gd name="connsiteX7" fmla="*/ 344094 w 889606"/>
              <a:gd name="connsiteY7" fmla="*/ 131465 h 246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606" h="2462186">
                <a:moveTo>
                  <a:pt x="444803" y="0"/>
                </a:moveTo>
                <a:lnTo>
                  <a:pt x="545512" y="131465"/>
                </a:lnTo>
                <a:cubicBezTo>
                  <a:pt x="762755" y="445360"/>
                  <a:pt x="889606" y="823766"/>
                  <a:pt x="889606" y="1231093"/>
                </a:cubicBezTo>
                <a:cubicBezTo>
                  <a:pt x="889606" y="1638420"/>
                  <a:pt x="762755" y="2016826"/>
                  <a:pt x="545512" y="2330721"/>
                </a:cubicBezTo>
                <a:lnTo>
                  <a:pt x="444803" y="2462186"/>
                </a:lnTo>
                <a:lnTo>
                  <a:pt x="344094" y="2330721"/>
                </a:lnTo>
                <a:cubicBezTo>
                  <a:pt x="126851" y="2016826"/>
                  <a:pt x="0" y="1638420"/>
                  <a:pt x="0" y="1231093"/>
                </a:cubicBezTo>
                <a:cubicBezTo>
                  <a:pt x="0" y="823766"/>
                  <a:pt x="126851" y="445360"/>
                  <a:pt x="344094" y="131465"/>
                </a:cubicBezTo>
                <a:close/>
              </a:path>
            </a:pathLst>
          </a:cu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1A7960-BD37-A782-67D8-0DD9759C48D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11230" y="1462251"/>
            <a:ext cx="4029574" cy="3933497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eloper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08ED129-4045-2EF4-61ED-7FBF81D8964E}"/>
              </a:ext>
            </a:extLst>
          </p:cNvPr>
          <p:cNvSpPr/>
          <p:nvPr/>
        </p:nvSpPr>
        <p:spPr>
          <a:xfrm>
            <a:off x="5651196" y="1462251"/>
            <a:ext cx="4029574" cy="3933497"/>
          </a:xfrm>
          <a:prstGeom prst="ellipse">
            <a:avLst/>
          </a:prstGeom>
          <a:noFill/>
          <a:ln w="12700"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+mj-lt"/>
              </a:rPr>
              <a:t>Security &amp; </a:t>
            </a:r>
          </a:p>
          <a:p>
            <a:pPr algn="ctr"/>
            <a:r>
              <a:rPr lang="en-US" sz="2400">
                <a:solidFill>
                  <a:schemeClr val="tx1"/>
                </a:solidFill>
                <a:latin typeface="+mj-lt"/>
              </a:rPr>
              <a:t>Risk </a:t>
            </a:r>
            <a:br>
              <a:rPr lang="en-US" sz="2400">
                <a:solidFill>
                  <a:schemeClr val="tx1"/>
                </a:solidFill>
                <a:latin typeface="+mj-lt"/>
              </a:rPr>
            </a:br>
            <a:r>
              <a:rPr lang="en-US" sz="2400">
                <a:solidFill>
                  <a:schemeClr val="tx1"/>
                </a:solidFill>
                <a:latin typeface="+mj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77354687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A5767D-F069-6D08-E3B4-2215F1B9B3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65BD95E8-6721-BBB5-A9D4-D45D17CAC7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511229" y="1462251"/>
            <a:ext cx="7169542" cy="3933498"/>
            <a:chOff x="2511229" y="1462251"/>
            <a:chExt cx="7169542" cy="393349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5D23652-BD3E-CB4C-E724-AB32B38DFACF}"/>
                </a:ext>
              </a:extLst>
            </p:cNvPr>
            <p:cNvSpPr/>
            <p:nvPr/>
          </p:nvSpPr>
          <p:spPr bwMode="auto">
            <a:xfrm>
              <a:off x="5651197" y="1462251"/>
              <a:ext cx="4029574" cy="3933498"/>
            </a:xfrm>
            <a:prstGeom prst="ellipse">
              <a:avLst/>
            </a:prstGeom>
            <a:solidFill>
              <a:srgbClr val="8DC8E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0FF64A2-9FD1-8A79-E40C-B4F59328DCA5}"/>
                </a:ext>
              </a:extLst>
            </p:cNvPr>
            <p:cNvSpPr/>
            <p:nvPr/>
          </p:nvSpPr>
          <p:spPr bwMode="auto">
            <a:xfrm>
              <a:off x="2511229" y="1462251"/>
              <a:ext cx="4029574" cy="3933498"/>
            </a:xfrm>
            <a:prstGeom prst="ellipse">
              <a:avLst/>
            </a:prstGeom>
            <a:solidFill>
              <a:srgbClr val="8DC8E8"/>
            </a:solidFill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41D7988-7374-7257-583E-2EE86464AC00}"/>
                </a:ext>
              </a:extLst>
            </p:cNvPr>
            <p:cNvSpPr/>
            <p:nvPr/>
          </p:nvSpPr>
          <p:spPr bwMode="auto">
            <a:xfrm>
              <a:off x="5651197" y="2197906"/>
              <a:ext cx="889606" cy="2462186"/>
            </a:xfrm>
            <a:custGeom>
              <a:avLst/>
              <a:gdLst>
                <a:gd name="connsiteX0" fmla="*/ 444803 w 889606"/>
                <a:gd name="connsiteY0" fmla="*/ 0 h 2462186"/>
                <a:gd name="connsiteX1" fmla="*/ 545512 w 889606"/>
                <a:gd name="connsiteY1" fmla="*/ 131465 h 2462186"/>
                <a:gd name="connsiteX2" fmla="*/ 889606 w 889606"/>
                <a:gd name="connsiteY2" fmla="*/ 1231093 h 2462186"/>
                <a:gd name="connsiteX3" fmla="*/ 545512 w 889606"/>
                <a:gd name="connsiteY3" fmla="*/ 2330721 h 2462186"/>
                <a:gd name="connsiteX4" fmla="*/ 444803 w 889606"/>
                <a:gd name="connsiteY4" fmla="*/ 2462186 h 2462186"/>
                <a:gd name="connsiteX5" fmla="*/ 344094 w 889606"/>
                <a:gd name="connsiteY5" fmla="*/ 2330721 h 2462186"/>
                <a:gd name="connsiteX6" fmla="*/ 0 w 889606"/>
                <a:gd name="connsiteY6" fmla="*/ 1231093 h 2462186"/>
                <a:gd name="connsiteX7" fmla="*/ 344094 w 889606"/>
                <a:gd name="connsiteY7" fmla="*/ 131465 h 2462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9606" h="2462186">
                  <a:moveTo>
                    <a:pt x="444803" y="0"/>
                  </a:moveTo>
                  <a:lnTo>
                    <a:pt x="545512" y="131465"/>
                  </a:lnTo>
                  <a:cubicBezTo>
                    <a:pt x="762755" y="445360"/>
                    <a:pt x="889606" y="823766"/>
                    <a:pt x="889606" y="1231093"/>
                  </a:cubicBezTo>
                  <a:cubicBezTo>
                    <a:pt x="889606" y="1638420"/>
                    <a:pt x="762755" y="2016826"/>
                    <a:pt x="545512" y="2330721"/>
                  </a:cubicBezTo>
                  <a:lnTo>
                    <a:pt x="444803" y="2462186"/>
                  </a:lnTo>
                  <a:lnTo>
                    <a:pt x="344094" y="2330721"/>
                  </a:lnTo>
                  <a:cubicBezTo>
                    <a:pt x="126851" y="2016826"/>
                    <a:pt x="0" y="1638420"/>
                    <a:pt x="0" y="1231093"/>
                  </a:cubicBezTo>
                  <a:cubicBezTo>
                    <a:pt x="0" y="823766"/>
                    <a:pt x="126851" y="445360"/>
                    <a:pt x="344094" y="131465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C4865AC-2D71-5342-5F14-90FE97F900CE}"/>
                </a:ext>
              </a:extLst>
            </p:cNvPr>
            <p:cNvSpPr/>
            <p:nvPr/>
          </p:nvSpPr>
          <p:spPr>
            <a:xfrm>
              <a:off x="2511230" y="1462251"/>
              <a:ext cx="4029574" cy="3933497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>
                  <a:solidFill>
                    <a:schemeClr val="tx1"/>
                  </a:solidFill>
                  <a:latin typeface="+mj-lt"/>
                </a:rPr>
                <a:t>Developers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9A7FAA1-EE50-9891-75FA-942682D5FFE5}"/>
                </a:ext>
              </a:extLst>
            </p:cNvPr>
            <p:cNvSpPr/>
            <p:nvPr/>
          </p:nvSpPr>
          <p:spPr>
            <a:xfrm>
              <a:off x="5651196" y="1462251"/>
              <a:ext cx="4029574" cy="3933497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>
                  <a:solidFill>
                    <a:schemeClr val="tx1"/>
                  </a:solidFill>
                  <a:latin typeface="+mj-lt"/>
                </a:rPr>
                <a:t>Security &amp; </a:t>
              </a:r>
            </a:p>
            <a:p>
              <a:pPr algn="ctr"/>
              <a:r>
                <a:rPr lang="en-US" sz="2400">
                  <a:solidFill>
                    <a:schemeClr val="tx1"/>
                  </a:solidFill>
                  <a:latin typeface="+mj-lt"/>
                </a:rPr>
                <a:t>Risk</a:t>
              </a:r>
              <a:br>
                <a:rPr lang="en-US" sz="2400">
                  <a:solidFill>
                    <a:schemeClr val="tx1"/>
                  </a:solidFill>
                  <a:latin typeface="+mj-lt"/>
                </a:rPr>
              </a:br>
              <a:r>
                <a:rPr lang="en-US" sz="2400">
                  <a:solidFill>
                    <a:schemeClr val="tx1"/>
                  </a:solidFill>
                  <a:latin typeface="+mj-lt"/>
                </a:rPr>
                <a:t>Teams</a:t>
              </a:r>
            </a:p>
          </p:txBody>
        </p:sp>
      </p:grpSp>
      <p:sp>
        <p:nvSpPr>
          <p:cNvPr id="25" name="Title 24">
            <a:extLst>
              <a:ext uri="{FF2B5EF4-FFF2-40B4-BE49-F238E27FC236}">
                <a16:creationId xmlns:a16="http://schemas.microsoft.com/office/drawing/2014/main" id="{5C4DE730-5239-7C99-945B-89449C57440B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auto">
          <a:xfrm>
            <a:off x="2990193" y="4886967"/>
            <a:ext cx="6211614" cy="73659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 w="3175">
            <a:noFill/>
            <a:prstDash/>
          </a:ln>
          <a:effectLst/>
        </p:spPr>
        <p:txBody>
          <a:bodyPr rot="0" spcFirstLastPara="0" vertOverflow="overflow" horzOverflow="overflow" vert="horz" wrap="none" lIns="320040" tIns="73152" rIns="32004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10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Sans Display Semibold"/>
              </a:rPr>
              <a:t>Trust is a team spor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D1759FA-125B-FA8D-0DAB-0F96102A38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00" y="3380920"/>
            <a:ext cx="0" cy="1506047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53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8"/>
                                        </p:tgtEl>
                                      </p:cBhvr>
                                      <p:by x="86000" y="86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6111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0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5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 -3.7037E-6 L 0 0.02616 " pathEditMode="relative" rAng="0" ptsTypes="AA">
                                      <p:cBhvr>
                                        <p:cTn id="13" dur="5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9E56B-4138-3871-BB7B-8784380E4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50">
            <a:extLst>
              <a:ext uri="{FF2B5EF4-FFF2-40B4-BE49-F238E27FC236}">
                <a16:creationId xmlns:a16="http://schemas.microsoft.com/office/drawing/2014/main" id="{83DD9E8E-90B4-EDD0-BACD-63753A0C9D94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auto">
          <a:xfrm>
            <a:off x="2990193" y="3060703"/>
            <a:ext cx="6211614" cy="73659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 w="3175">
            <a:noFill/>
            <a:prstDash/>
          </a:ln>
          <a:effectLst/>
        </p:spPr>
        <p:txBody>
          <a:bodyPr rot="0" spcFirstLastPara="0" vertOverflow="overflow" horzOverflow="overflow" vert="horz" wrap="none" lIns="320040" tIns="73152" rIns="32004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910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Sans Display Semibold"/>
              </a:rPr>
              <a:t>Trust is a team spor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C79DA16-AF2C-F1D5-0D95-90BE1B314C23}"/>
              </a:ext>
            </a:extLst>
          </p:cNvPr>
          <p:cNvSpPr/>
          <p:nvPr/>
        </p:nvSpPr>
        <p:spPr>
          <a:xfrm>
            <a:off x="584200" y="1603440"/>
            <a:ext cx="11025188" cy="2217739"/>
          </a:xfrm>
          <a:prstGeom prst="rect">
            <a:avLst/>
          </a:prstGeom>
          <a:solidFill>
            <a:srgbClr val="8DC8E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Security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&amp; Risk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Team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FB024E-2B5E-0E59-32C6-3CC0EA5DF83F}"/>
              </a:ext>
            </a:extLst>
          </p:cNvPr>
          <p:cNvSpPr/>
          <p:nvPr/>
        </p:nvSpPr>
        <p:spPr>
          <a:xfrm>
            <a:off x="582614" y="3892884"/>
            <a:ext cx="11025189" cy="2217739"/>
          </a:xfrm>
          <a:prstGeom prst="rect">
            <a:avLst/>
          </a:prstGeom>
          <a:solidFill>
            <a:srgbClr val="FFB3BB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Develope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39DB2E-21D9-0A53-5189-5C9DA5F44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121577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Evaluate &amp; T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8755D5-8AEB-469A-23A3-266CCCBA0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800562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32472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ctr">
              <a:defRPr/>
            </a:pPr>
            <a:r>
              <a:rPr lang="en-CA" sz="1400">
                <a:solidFill>
                  <a:srgbClr val="000000"/>
                </a:solidFill>
              </a:rPr>
              <a:t>Plan &amp; Buil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067D6C-BA82-510B-369C-933E3A309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442591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Deploy &amp; Manage</a:t>
            </a:r>
          </a:p>
        </p:txBody>
      </p:sp>
    </p:spTree>
    <p:extLst>
      <p:ext uri="{BB962C8B-B14F-4D97-AF65-F5344CB8AC3E}">
        <p14:creationId xmlns:p14="http://schemas.microsoft.com/office/powerpoint/2010/main" val="13432641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51"/>
                                        </p:tgtEl>
                                      </p:cBhvr>
                                      <p:by x="66000" y="66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4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37755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88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5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3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5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8" dur="5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5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3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5" presetClass="path" presetSubtype="0" decel="10000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8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5" presetClass="path" presetSubtype="0" decel="100000" fill="hold" grpId="1" nodeType="withEffect">
                                  <p:stCondLst>
                                    <p:cond delay="275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33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2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1" grpId="2" animBg="1"/>
      <p:bldP spid="20" grpId="0" animBg="1"/>
      <p:bldP spid="20" grpId="1" animBg="1"/>
      <p:bldP spid="21" grpId="0" animBg="1"/>
      <p:bldP spid="21" grpId="1" animBg="1"/>
      <p:bldP spid="29" grpId="0" animBg="1"/>
      <p:bldP spid="29" grpId="1" animBg="1"/>
      <p:bldP spid="12" grpId="0" animBg="1"/>
      <p:bldP spid="12" grpId="1" animBg="1"/>
      <p:bldP spid="9" grpId="0" animBg="1"/>
      <p:bldP spid="9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7E93A-EBA9-8775-D604-01F7C8FF7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52BC5EE-99C6-6A92-BA5C-C790D2C0607E}"/>
              </a:ext>
            </a:extLst>
          </p:cNvPr>
          <p:cNvSpPr/>
          <p:nvPr/>
        </p:nvSpPr>
        <p:spPr>
          <a:xfrm>
            <a:off x="584200" y="1603440"/>
            <a:ext cx="11025188" cy="2217739"/>
          </a:xfrm>
          <a:prstGeom prst="rect">
            <a:avLst/>
          </a:prstGeom>
          <a:solidFill>
            <a:srgbClr val="8DC8E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Security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&amp; Risk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Team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F57F2A-5248-9C2E-57C2-9B95CFA51A9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2614" y="3892884"/>
            <a:ext cx="11025189" cy="2217739"/>
          </a:xfrm>
          <a:prstGeom prst="rect">
            <a:avLst/>
          </a:prstGeom>
          <a:solidFill>
            <a:srgbClr val="FFB3BB">
              <a:alpha val="2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Develop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DA9C94-5FAE-0029-0073-DDE57F4C7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121577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>
                <a:solidFill>
                  <a:srgbClr val="B1B3B3"/>
                </a:solidFill>
              </a:rPr>
              <a:t>Evaluate &amp; T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417AB3-DF7F-E1A4-F377-A225D31F8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800562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rgbClr val="0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32472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Segoe UI" pitchFamily="34" charset="0"/>
              </a:rPr>
              <a:t>Plan &amp; Buil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195BC2-D375-BC70-38B5-D35A686B3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442591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>
                <a:solidFill>
                  <a:srgbClr val="B1B3B3"/>
                </a:solidFill>
              </a:rPr>
              <a:t>Deploy &amp; Manag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3422C3D-6C7E-B527-7D48-D82280DB033B}"/>
              </a:ext>
            </a:extLst>
          </p:cNvPr>
          <p:cNvSpPr/>
          <p:nvPr/>
        </p:nvSpPr>
        <p:spPr>
          <a:xfrm>
            <a:off x="1873694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project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DA7AC00-3CD8-5AFD-113D-A93FFAA334BC}"/>
              </a:ext>
            </a:extLst>
          </p:cNvPr>
          <p:cNvSpPr/>
          <p:nvPr/>
        </p:nvSpPr>
        <p:spPr>
          <a:xfrm>
            <a:off x="1873694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lect model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C30C825-D97E-0766-C7F5-3A86CC0F3C18}"/>
              </a:ext>
            </a:extLst>
          </p:cNvPr>
          <p:cNvSpPr/>
          <p:nvPr/>
        </p:nvSpPr>
        <p:spPr>
          <a:xfrm>
            <a:off x="1873694" y="559205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recommendation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3F8799B-3C7C-4E94-3A33-DB2D7B30AA82}"/>
              </a:ext>
            </a:extLst>
          </p:cNvPr>
          <p:cNvSpPr/>
          <p:nvPr/>
        </p:nvSpPr>
        <p:spPr>
          <a:xfrm>
            <a:off x="1873694" y="504615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Guardrails &amp; control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E08947F-F985-EFA9-5AD9-06734F3053BA}"/>
              </a:ext>
            </a:extLst>
          </p:cNvPr>
          <p:cNvSpPr/>
          <p:nvPr/>
        </p:nvSpPr>
        <p:spPr>
          <a:xfrm>
            <a:off x="1873694" y="2213442"/>
            <a:ext cx="2889504" cy="438912"/>
          </a:xfrm>
          <a:prstGeom prst="roundRect">
            <a:avLst/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managemen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63F51AA-1F31-3FCC-FC7E-277BB4E1D300}"/>
              </a:ext>
            </a:extLst>
          </p:cNvPr>
          <p:cNvSpPr/>
          <p:nvPr/>
        </p:nvSpPr>
        <p:spPr>
          <a:xfrm>
            <a:off x="1873694" y="2754761"/>
            <a:ext cx="2889504" cy="438912"/>
          </a:xfrm>
          <a:prstGeom prst="roundRect">
            <a:avLst/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Identity manageme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FE70167-4AE0-7307-F5B8-3C32D4C15821}"/>
              </a:ext>
            </a:extLst>
          </p:cNvPr>
          <p:cNvSpPr/>
          <p:nvPr/>
        </p:nvSpPr>
        <p:spPr>
          <a:xfrm>
            <a:off x="1873694" y="167212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risks</a:t>
            </a:r>
          </a:p>
        </p:txBody>
      </p:sp>
    </p:spTree>
    <p:extLst>
      <p:ext uri="{BB962C8B-B14F-4D97-AF65-F5344CB8AC3E}">
        <p14:creationId xmlns:p14="http://schemas.microsoft.com/office/powerpoint/2010/main" val="26394520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4.44444E-6 L 4.58333E-6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58333E-6 3.7037E-7 L 4.58333E-6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58333E-6 -4.81481E-6 L 4.58333E-6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5" grpId="0" animBg="1"/>
      <p:bldP spid="25" grpId="1" animBg="1"/>
      <p:bldP spid="27" grpId="0" animBg="1"/>
      <p:bldP spid="27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30471F-7EDF-9E4E-E2FD-AA8ACF03F1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8027ABF8-52A3-0D7A-B9E9-CE29CBF03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noProof="0"/>
              <a:t>Guardrails &amp; controls</a:t>
            </a:r>
            <a:endParaRPr lang="en-US"/>
          </a:p>
        </p:txBody>
      </p:sp>
      <p:sp>
        <p:nvSpPr>
          <p:cNvPr id="5" name="Rectangle: Rounded Corners 16">
            <a:extLst>
              <a:ext uri="{FF2B5EF4-FFF2-40B4-BE49-F238E27FC236}">
                <a16:creationId xmlns:a16="http://schemas.microsoft.com/office/drawing/2014/main" id="{8900ECF5-1F0B-2403-1B56-0E073BFDB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4456" y="1730778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Qualit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Ungrounded attributes</a:t>
            </a:r>
          </a:p>
        </p:txBody>
      </p:sp>
      <p:sp>
        <p:nvSpPr>
          <p:cNvPr id="6" name="Rectangle: Rounded Corners 16">
            <a:extLst>
              <a:ext uri="{FF2B5EF4-FFF2-40B4-BE49-F238E27FC236}">
                <a16:creationId xmlns:a16="http://schemas.microsoft.com/office/drawing/2014/main" id="{57CC7235-496A-3F87-5E6F-1A0E7EA5E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472080" y="1730778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Risk &amp; safet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rompt injections attacks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Harmful content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rotected material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Ungrounded attributes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ode vulnerability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nsitive data and PII </a:t>
            </a:r>
          </a:p>
        </p:txBody>
      </p:sp>
      <p:sp>
        <p:nvSpPr>
          <p:cNvPr id="7" name="Rectangle: Rounded Corners 16">
            <a:extLst>
              <a:ext uri="{FF2B5EF4-FFF2-40B4-BE49-F238E27FC236}">
                <a16:creationId xmlns:a16="http://schemas.microsoft.com/office/drawing/2014/main" id="{724E350D-45A9-50B3-8718-044690D67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059704" y="1730777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ask adherence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80F1D496-FAD1-7DE7-538F-2DCE39CE65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4456" y="5705601"/>
            <a:ext cx="10423088" cy="4814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+ Custom guardrails</a:t>
            </a:r>
          </a:p>
        </p:txBody>
      </p:sp>
    </p:spTree>
    <p:extLst>
      <p:ext uri="{BB962C8B-B14F-4D97-AF65-F5344CB8AC3E}">
        <p14:creationId xmlns:p14="http://schemas.microsoft.com/office/powerpoint/2010/main" val="324408961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9AC3-4DAA-391B-E07E-C6B374200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61E52-EC5B-BCBF-2C47-BFA4B58C7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96696"/>
            <a:ext cx="11017250" cy="554038"/>
          </a:xfrm>
        </p:spPr>
        <p:txBody>
          <a:bodyPr/>
          <a:lstStyle/>
          <a:p>
            <a:pPr algn="ctr"/>
            <a:r>
              <a:rPr lang="en-US"/>
              <a:t>Prompt shield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88092E9-C355-2119-2297-727E22C2F569}"/>
              </a:ext>
            </a:extLst>
          </p:cNvPr>
          <p:cNvSpPr/>
          <p:nvPr/>
        </p:nvSpPr>
        <p:spPr bwMode="auto">
          <a:xfrm>
            <a:off x="582357" y="2426779"/>
            <a:ext cx="5357846" cy="548640"/>
          </a:xfrm>
          <a:prstGeom prst="roundRect">
            <a:avLst>
              <a:gd name="adj" fmla="val 22728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irec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26CCD9C-3000-FC55-3D02-9EC68587C6BF}"/>
              </a:ext>
            </a:extLst>
          </p:cNvPr>
          <p:cNvSpPr/>
          <p:nvPr/>
        </p:nvSpPr>
        <p:spPr bwMode="auto">
          <a:xfrm>
            <a:off x="6251799" y="2426779"/>
            <a:ext cx="5357590" cy="548640"/>
          </a:xfrm>
          <a:prstGeom prst="roundRect">
            <a:avLst>
              <a:gd name="adj" fmla="val 22728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direc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39F5FA5-FF2A-8430-C656-014A4E19793D}"/>
              </a:ext>
            </a:extLst>
          </p:cNvPr>
          <p:cNvSpPr/>
          <p:nvPr/>
        </p:nvSpPr>
        <p:spPr bwMode="auto">
          <a:xfrm>
            <a:off x="4753494" y="1709369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Generally Availabl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058E76F-EC86-7EF1-F88B-DB14C8889CEA}"/>
              </a:ext>
            </a:extLst>
          </p:cNvPr>
          <p:cNvSpPr/>
          <p:nvPr/>
        </p:nvSpPr>
        <p:spPr bwMode="auto">
          <a:xfrm>
            <a:off x="582356" y="3080494"/>
            <a:ext cx="5357845" cy="1105334"/>
          </a:xfrm>
          <a:prstGeom prst="roundRect">
            <a:avLst>
              <a:gd name="adj" fmla="val 11281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Blocks jailbreaks and direct prompt attacks to prevent agents from overriding rules or executing harmful behavior.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F439A4B-2F71-1B08-5DDA-0A91D3067C6A}"/>
              </a:ext>
            </a:extLst>
          </p:cNvPr>
          <p:cNvSpPr/>
          <p:nvPr/>
        </p:nvSpPr>
        <p:spPr bwMode="auto">
          <a:xfrm>
            <a:off x="6251543" y="3080493"/>
            <a:ext cx="5357845" cy="1105334"/>
          </a:xfrm>
          <a:prstGeom prst="roundRect">
            <a:avLst>
              <a:gd name="adj" fmla="val 11281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</a:rPr>
              <a:t>Blocks indirect attacks from documents or data sources to prevent hidden prompts from influencing model behavior.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E98E8D0-90AB-5135-F8D6-4BE9F9662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737294" y="0"/>
            <a:ext cx="2717412" cy="479061"/>
            <a:chOff x="4737294" y="-6677"/>
            <a:chExt cx="2717412" cy="479061"/>
          </a:xfrm>
        </p:grpSpPr>
        <p:grpSp>
          <p:nvGrpSpPr>
            <p:cNvPr id="26" name="Group 25" descr="Azure AI Foundry tag">
              <a:extLst>
                <a:ext uri="{FF2B5EF4-FFF2-40B4-BE49-F238E27FC236}">
                  <a16:creationId xmlns:a16="http://schemas.microsoft.com/office/drawing/2014/main" id="{F05E1D65-1205-AB63-8C06-8FC4D5CEDFAA}"/>
                </a:ext>
              </a:extLst>
            </p:cNvPr>
            <p:cNvGrpSpPr/>
            <p:nvPr/>
          </p:nvGrpSpPr>
          <p:grpSpPr>
            <a:xfrm>
              <a:off x="4737294" y="-6677"/>
              <a:ext cx="2717412" cy="479061"/>
              <a:chOff x="4737294" y="-6677"/>
              <a:chExt cx="3106352" cy="547628"/>
            </a:xfrm>
          </p:grpSpPr>
          <p:sp>
            <p:nvSpPr>
              <p:cNvPr id="30" name="Round Same Side Corner Rectangle 4">
                <a:extLst>
                  <a:ext uri="{FF2B5EF4-FFF2-40B4-BE49-F238E27FC236}">
                    <a16:creationId xmlns:a16="http://schemas.microsoft.com/office/drawing/2014/main" id="{38B846A8-C000-4485-967A-CD9957BA4D2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 rot="10800000">
                <a:off x="4737294" y="-6677"/>
                <a:ext cx="3106352" cy="54762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80000">
                    <a:srgbClr val="8DC8E8"/>
                  </a:gs>
                  <a:gs pos="0">
                    <a:srgbClr val="FFB3BB"/>
                  </a:gs>
                </a:gsLst>
                <a:path path="circle">
                  <a:fillToRect t="100000" r="100000"/>
                </a:path>
                <a:tileRect l="-100000" b="-100000"/>
              </a:gra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Variable Display Semib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1" name="Title 6">
                <a:extLst>
                  <a:ext uri="{FF2B5EF4-FFF2-40B4-BE49-F238E27FC236}">
                    <a16:creationId xmlns:a16="http://schemas.microsoft.com/office/drawing/2014/main" id="{81995511-9875-DEBC-39C3-F61895E93B4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42287" y="100023"/>
                <a:ext cx="2333056" cy="31664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ctr" defTabSz="49101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lang="en-US" sz="4800" b="0" kern="1200" cap="none" spc="-50" baseline="0">
                    <a:ln w="3175">
                      <a:noFill/>
                    </a:ln>
                    <a:gradFill>
                      <a:gsLst>
                        <a:gs pos="1399">
                          <a:srgbClr val="FFFFFF"/>
                        </a:gs>
                        <a:gs pos="12587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effectLst/>
                    <a:latin typeface="Segoe UI Variable Display Semib" pitchFamily="2" charset="0"/>
                    <a:cs typeface="Segoe UI" pitchFamily="34" charset="0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ctr" defTabSz="92809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"/>
                  </a:rPr>
                  <a:t>Azure AI Foundry</a:t>
                </a:r>
                <a:endParaRPr kumimoji="0" lang="en-CA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384DA84-0A68-96CD-68EB-9A0A47BCCF79}"/>
                </a:ext>
              </a:extLst>
            </p:cNvPr>
            <p:cNvGrpSpPr/>
            <p:nvPr/>
          </p:nvGrpSpPr>
          <p:grpSpPr>
            <a:xfrm>
              <a:off x="4819500" y="69850"/>
              <a:ext cx="321725" cy="321725"/>
              <a:chOff x="4889841" y="66675"/>
              <a:chExt cx="321725" cy="321725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196E5067-24FA-E9BB-DACF-4F45C877610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889841" y="66675"/>
                <a:ext cx="321725" cy="321725"/>
              </a:xfrm>
              <a:prstGeom prst="ellipse">
                <a:avLst/>
              </a:prstGeom>
              <a:solidFill>
                <a:srgbClr val="FFFFFF"/>
              </a:solidFill>
              <a:ln w="165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047" tIns="145638" rIns="182047" bIns="1456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l" defTabSz="9283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91F2C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29" name="Graphic 9">
                <a:extLst>
                  <a:ext uri="{FF2B5EF4-FFF2-40B4-BE49-F238E27FC236}">
                    <a16:creationId xmlns:a16="http://schemas.microsoft.com/office/drawing/2014/main" id="{B4471FE8-8495-4A14-9C98-ABA9A7DAE98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47079" y="123914"/>
                <a:ext cx="207248" cy="207247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2EAA1E7-00DD-FF6F-C862-0FB113CBDFE2}"/>
              </a:ext>
            </a:extLst>
          </p:cNvPr>
          <p:cNvSpPr/>
          <p:nvPr/>
        </p:nvSpPr>
        <p:spPr bwMode="auto">
          <a:xfrm>
            <a:off x="2785730" y="4943105"/>
            <a:ext cx="6620540" cy="548640"/>
          </a:xfrm>
          <a:prstGeom prst="roundRect">
            <a:avLst>
              <a:gd name="adj" fmla="val 22728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000000"/>
            </a:solidFill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  <a:latin typeface="Segoe UI Semibold"/>
              </a:rPr>
              <a:t>Spotlighting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D39B9D2-72C3-555E-3DFC-1F6E9EEAFE98}"/>
              </a:ext>
            </a:extLst>
          </p:cNvPr>
          <p:cNvSpPr/>
          <p:nvPr/>
        </p:nvSpPr>
        <p:spPr bwMode="auto">
          <a:xfrm>
            <a:off x="2772076" y="5596820"/>
            <a:ext cx="6643050" cy="765880"/>
          </a:xfrm>
          <a:prstGeom prst="roundRect">
            <a:avLst>
              <a:gd name="adj" fmla="val 16281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0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</a:rPr>
              <a:t>Technique enriches mitigations by filtering adversarial content in indirect and cross prompt injection attacks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DD2E859-76EA-D9E0-25FD-D7C30A8335AC}"/>
              </a:ext>
            </a:extLst>
          </p:cNvPr>
          <p:cNvSpPr/>
          <p:nvPr/>
        </p:nvSpPr>
        <p:spPr bwMode="auto">
          <a:xfrm>
            <a:off x="4753494" y="4381836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  <a:latin typeface="+mj-lt"/>
                <a:cs typeface="Segoe UI" pitchFamily="34" charset="0"/>
              </a:rPr>
              <a:t>Preview</a:t>
            </a: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BDAC463C-81FC-DD1B-8B60-F1044568BA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354728" y="4185827"/>
            <a:ext cx="500514" cy="757277"/>
          </a:xfrm>
          <a:prstGeom prst="downArrow">
            <a:avLst/>
          </a:prstGeom>
          <a:solidFill>
            <a:srgbClr val="B1B3B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5370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5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0" dur="5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5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5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39" grpId="0" animBg="1"/>
      <p:bldP spid="39" grpId="1" animBg="1"/>
      <p:bldP spid="4" grpId="0" animBg="1"/>
      <p:bldP spid="4" grpId="1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52379-0EA6-2497-0D37-6DF4D0319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96696"/>
            <a:ext cx="11017250" cy="554038"/>
          </a:xfrm>
        </p:spPr>
        <p:txBody>
          <a:bodyPr vert="horz" wrap="square" lIns="0" tIns="0" rIns="0" bIns="0" rtlCol="0" anchor="t">
            <a:normAutofit/>
          </a:bodyPr>
          <a:lstStyle/>
          <a:p>
            <a:pPr algn="ctr"/>
            <a:r>
              <a:rPr lang="en-US"/>
              <a:t>Task adherenc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C8AB21-FA45-4E9C-EFE2-23387461EB23}"/>
              </a:ext>
            </a:extLst>
          </p:cNvPr>
          <p:cNvSpPr/>
          <p:nvPr/>
        </p:nvSpPr>
        <p:spPr bwMode="auto">
          <a:xfrm>
            <a:off x="582357" y="2990303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On task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B9C9918-3943-B927-6697-A403CE07466B}"/>
              </a:ext>
            </a:extLst>
          </p:cNvPr>
          <p:cNvSpPr/>
          <p:nvPr/>
        </p:nvSpPr>
        <p:spPr bwMode="auto">
          <a:xfrm>
            <a:off x="4377184" y="2990303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rgbClr val="000000"/>
                </a:solidFill>
                <a:latin typeface="Segoe UI Semibold"/>
              </a:rPr>
              <a:t>Block or escalat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D20816F-DE3F-DAF2-3F9A-09218BC368D2}"/>
              </a:ext>
            </a:extLst>
          </p:cNvPr>
          <p:cNvSpPr/>
          <p:nvPr/>
        </p:nvSpPr>
        <p:spPr bwMode="auto">
          <a:xfrm>
            <a:off x="8172010" y="2990303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uilt-in control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77EB97A-9C6A-2260-CC53-51E3565DB405}"/>
              </a:ext>
            </a:extLst>
          </p:cNvPr>
          <p:cNvSpPr/>
          <p:nvPr/>
        </p:nvSpPr>
        <p:spPr bwMode="auto">
          <a:xfrm>
            <a:off x="4753494" y="2017713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review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3EFB436-16A4-8DE5-FAF1-385C79EFDFA8}"/>
              </a:ext>
            </a:extLst>
          </p:cNvPr>
          <p:cNvSpPr/>
          <p:nvPr/>
        </p:nvSpPr>
        <p:spPr bwMode="auto">
          <a:xfrm>
            <a:off x="582357" y="3847209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Keeps agents aligned to user goals, workflows, and polici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ED84AD9-E773-ED8D-C4A0-5F62D053AE9F}"/>
              </a:ext>
            </a:extLst>
          </p:cNvPr>
          <p:cNvSpPr/>
          <p:nvPr/>
        </p:nvSpPr>
        <p:spPr bwMode="auto">
          <a:xfrm>
            <a:off x="4377183" y="3847209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rgbClr val="000000"/>
                </a:solidFill>
                <a:latin typeface="Segoe UI"/>
                <a:cs typeface="Segoe UI" pitchFamily="34" charset="0"/>
              </a:rPr>
              <a:t>B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locks actions </a:t>
            </a:r>
            <a:r>
              <a:rPr lang="en-US" sz="2000">
                <a:solidFill>
                  <a:srgbClr val="000000"/>
                </a:solidFill>
                <a:cs typeface="Segoe UI" pitchFamily="34" charset="0"/>
              </a:rPr>
              <a:t>or triggers human-in-the-loop review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hen misaligne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8B2A984-2D22-84D9-DE1F-B887FA1FC9A3}"/>
              </a:ext>
            </a:extLst>
          </p:cNvPr>
          <p:cNvSpPr/>
          <p:nvPr/>
        </p:nvSpPr>
        <p:spPr bwMode="auto">
          <a:xfrm>
            <a:off x="8172009" y="3847208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Segoe UI" pitchFamily="34" charset="0"/>
              </a:rPr>
              <a:t>Embedded in Azure AI Content Safety and Azure AI Foundry Agent Servic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846DF2F-6188-B565-14FA-9CBF05A0C0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737294" y="0"/>
            <a:ext cx="2717412" cy="479061"/>
            <a:chOff x="4737294" y="-6677"/>
            <a:chExt cx="2717412" cy="479061"/>
          </a:xfrm>
        </p:grpSpPr>
        <p:grpSp>
          <p:nvGrpSpPr>
            <p:cNvPr id="11" name="Group 10" descr="Azure AI Foundry tag">
              <a:extLst>
                <a:ext uri="{FF2B5EF4-FFF2-40B4-BE49-F238E27FC236}">
                  <a16:creationId xmlns:a16="http://schemas.microsoft.com/office/drawing/2014/main" id="{20BB52E4-96BF-52F6-1CFF-659F3176E7D7}"/>
                </a:ext>
              </a:extLst>
            </p:cNvPr>
            <p:cNvGrpSpPr/>
            <p:nvPr/>
          </p:nvGrpSpPr>
          <p:grpSpPr>
            <a:xfrm>
              <a:off x="4737294" y="-6677"/>
              <a:ext cx="2717412" cy="479061"/>
              <a:chOff x="4737294" y="-6677"/>
              <a:chExt cx="3106352" cy="547628"/>
            </a:xfrm>
          </p:grpSpPr>
          <p:sp>
            <p:nvSpPr>
              <p:cNvPr id="15" name="Round Same Side Corner Rectangle 4">
                <a:extLst>
                  <a:ext uri="{FF2B5EF4-FFF2-40B4-BE49-F238E27FC236}">
                    <a16:creationId xmlns:a16="http://schemas.microsoft.com/office/drawing/2014/main" id="{153B2341-683B-6651-FB93-6F10BC17904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 rot="10800000">
                <a:off x="4737294" y="-6677"/>
                <a:ext cx="3106352" cy="54762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80000">
                    <a:srgbClr val="8DC8E8"/>
                  </a:gs>
                  <a:gs pos="0">
                    <a:srgbClr val="FFB3BB"/>
                  </a:gs>
                </a:gsLst>
                <a:path path="circle">
                  <a:fillToRect t="100000" r="100000"/>
                </a:path>
                <a:tileRect l="-100000" b="-100000"/>
              </a:gra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Variable Display Semib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6" name="Title 6">
                <a:extLst>
                  <a:ext uri="{FF2B5EF4-FFF2-40B4-BE49-F238E27FC236}">
                    <a16:creationId xmlns:a16="http://schemas.microsoft.com/office/drawing/2014/main" id="{02CFFB18-F20E-0F5B-0A55-17947C88D60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42287" y="100023"/>
                <a:ext cx="2333056" cy="31664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ctr" defTabSz="49101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lang="en-US" sz="4800" b="0" kern="1200" cap="none" spc="-50" baseline="0">
                    <a:ln w="3175">
                      <a:noFill/>
                    </a:ln>
                    <a:gradFill>
                      <a:gsLst>
                        <a:gs pos="1399">
                          <a:srgbClr val="FFFFFF"/>
                        </a:gs>
                        <a:gs pos="12587">
                          <a:srgbClr val="FFFFFF"/>
                        </a:gs>
                      </a:gsLst>
                      <a:path path="circle">
                        <a:fillToRect l="100000" t="100000"/>
                      </a:path>
                    </a:gradFill>
                    <a:effectLst/>
                    <a:latin typeface="Segoe UI Variable Display Semib" pitchFamily="2" charset="0"/>
                    <a:cs typeface="Segoe UI" pitchFamily="34" charset="0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ctr" defTabSz="92809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"/>
                  </a:rPr>
                  <a:t>Azure AI Foundry</a:t>
                </a:r>
                <a:endParaRPr kumimoji="0" lang="en-CA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DD555DF-A597-68B4-9F44-9C115C8CF2C6}"/>
                </a:ext>
              </a:extLst>
            </p:cNvPr>
            <p:cNvGrpSpPr/>
            <p:nvPr/>
          </p:nvGrpSpPr>
          <p:grpSpPr>
            <a:xfrm>
              <a:off x="4819500" y="69850"/>
              <a:ext cx="321725" cy="321725"/>
              <a:chOff x="4889841" y="66675"/>
              <a:chExt cx="321725" cy="321725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26E7CD6-57BA-2198-BB24-58025DD7547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4889841" y="66675"/>
                <a:ext cx="321725" cy="321725"/>
              </a:xfrm>
              <a:prstGeom prst="ellipse">
                <a:avLst/>
              </a:prstGeom>
              <a:solidFill>
                <a:srgbClr val="FFFFFF"/>
              </a:solidFill>
              <a:ln w="165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047" tIns="145638" rIns="182047" bIns="1456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1pPr>
                <a:lvl2pPr marL="457183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2pPr>
                <a:lvl3pPr marL="914367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3pPr>
                <a:lvl4pPr marL="1371550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4pPr>
                <a:lvl5pPr marL="182873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5pPr>
                <a:lvl6pPr marL="2285918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6pPr>
                <a:lvl7pPr marL="2743101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7pPr>
                <a:lvl8pPr marL="3200284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8pPr>
                <a:lvl9pPr marL="3657469" algn="l" defTabSz="914367" rtl="0" eaLnBrk="1" latinLnBrk="0" hangingPunct="1">
                  <a:defRPr sz="1765" kern="1200">
                    <a:solidFill>
                      <a:srgbClr val="FFFFFF"/>
                    </a:solidFill>
                    <a:latin typeface="Segoe UI"/>
                  </a:defRPr>
                </a:lvl9pPr>
              </a:lstStyle>
              <a:p>
                <a:pPr marL="0" marR="0" lvl="0" indent="0" algn="l" defTabSz="9283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91F2C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4" name="Graphic 9">
                <a:extLst>
                  <a:ext uri="{FF2B5EF4-FFF2-40B4-BE49-F238E27FC236}">
                    <a16:creationId xmlns:a16="http://schemas.microsoft.com/office/drawing/2014/main" id="{53CC368F-2C8C-F0A6-C674-5331ABC12B1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947079" y="123914"/>
                <a:ext cx="207248" cy="207247"/>
              </a:xfrm>
              <a:prstGeom prst="rect">
                <a:avLst/>
              </a:prstGeom>
              <a:effectLst/>
            </p:spPr>
          </p:pic>
        </p:grpSp>
      </p:grpSp>
    </p:spTree>
    <p:extLst>
      <p:ext uri="{BB962C8B-B14F-4D97-AF65-F5344CB8AC3E}">
        <p14:creationId xmlns:p14="http://schemas.microsoft.com/office/powerpoint/2010/main" val="348765855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5364B-E0FE-A91D-4599-16A2AABAA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B0D064A-B403-9364-2188-E2F8E7B13F76}"/>
              </a:ext>
            </a:extLst>
          </p:cNvPr>
          <p:cNvSpPr/>
          <p:nvPr/>
        </p:nvSpPr>
        <p:spPr>
          <a:xfrm>
            <a:off x="584200" y="1603440"/>
            <a:ext cx="11025188" cy="2217739"/>
          </a:xfrm>
          <a:prstGeom prst="rect">
            <a:avLst/>
          </a:prstGeom>
          <a:solidFill>
            <a:srgbClr val="8DC8E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400">
                <a:solidFill>
                  <a:srgbClr val="000000"/>
                </a:solidFill>
                <a:latin typeface="+mj-lt"/>
                <a:cs typeface="Segoe UI" pitchFamily="34" charset="0"/>
              </a:rPr>
              <a:t>Security</a:t>
            </a:r>
            <a:br>
              <a:rPr lang="en-CA" sz="1400">
                <a:solidFill>
                  <a:srgbClr val="000000"/>
                </a:solidFill>
                <a:latin typeface="+mj-lt"/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latin typeface="+mj-lt"/>
                <a:cs typeface="Segoe UI" pitchFamily="34" charset="0"/>
              </a:rPr>
              <a:t>&amp; Risk</a:t>
            </a:r>
            <a:br>
              <a:rPr lang="en-CA" sz="1400">
                <a:solidFill>
                  <a:srgbClr val="000000"/>
                </a:solidFill>
                <a:latin typeface="+mj-lt"/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latin typeface="+mj-lt"/>
                <a:cs typeface="Segoe UI" pitchFamily="34" charset="0"/>
              </a:rPr>
              <a:t>Team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705BED2-F486-56F9-4A86-353C48FA41F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2614" y="3892884"/>
            <a:ext cx="11025189" cy="2217739"/>
          </a:xfrm>
          <a:prstGeom prst="rect">
            <a:avLst/>
          </a:prstGeom>
          <a:solidFill>
            <a:srgbClr val="FFB3BB">
              <a:alpha val="2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Develop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0C8777-611E-ACCA-7600-BB5F743AC3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121577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Evaluate &amp; Te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8B56EC-84AA-15D3-DD77-A1F241EFD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800562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32472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Segoe UI" pitchFamily="34" charset="0"/>
              </a:rPr>
              <a:t>Plan &amp; Buil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508D1E-89E3-8950-7B0C-44A86BFA16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442591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Deploy &amp; Manag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A0F10D5-D9DF-3128-1066-3B62131A1C49}"/>
              </a:ext>
            </a:extLst>
          </p:cNvPr>
          <p:cNvSpPr/>
          <p:nvPr/>
        </p:nvSpPr>
        <p:spPr>
          <a:xfrm>
            <a:off x="1873694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projec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BD537DF-BD37-AC22-2F20-1B9A7B616195}"/>
              </a:ext>
            </a:extLst>
          </p:cNvPr>
          <p:cNvSpPr/>
          <p:nvPr/>
        </p:nvSpPr>
        <p:spPr>
          <a:xfrm>
            <a:off x="1873694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lect model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2DE7864-DD0F-DBFE-8D50-97714EF7762C}"/>
              </a:ext>
            </a:extLst>
          </p:cNvPr>
          <p:cNvSpPr/>
          <p:nvPr/>
        </p:nvSpPr>
        <p:spPr>
          <a:xfrm>
            <a:off x="1873694" y="559205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recommendation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611C1C5-4E04-7BA4-5C8B-7C64DA116EBA}"/>
              </a:ext>
            </a:extLst>
          </p:cNvPr>
          <p:cNvSpPr/>
          <p:nvPr/>
        </p:nvSpPr>
        <p:spPr>
          <a:xfrm>
            <a:off x="1873694" y="504615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Guardrails &amp; control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113A7D9-1D08-9526-BF6D-AA65FF7AF294}"/>
              </a:ext>
            </a:extLst>
          </p:cNvPr>
          <p:cNvSpPr/>
          <p:nvPr/>
        </p:nvSpPr>
        <p:spPr>
          <a:xfrm>
            <a:off x="1873694" y="168324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risk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76A95B8-067A-0A37-AADB-D0FDB1549BB9}"/>
              </a:ext>
            </a:extLst>
          </p:cNvPr>
          <p:cNvSpPr/>
          <p:nvPr/>
        </p:nvSpPr>
        <p:spPr>
          <a:xfrm>
            <a:off x="1873694" y="2229142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managemen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6F66B96-F542-B68C-6E81-C65387EE0330}"/>
              </a:ext>
            </a:extLst>
          </p:cNvPr>
          <p:cNvSpPr/>
          <p:nvPr/>
        </p:nvSpPr>
        <p:spPr>
          <a:xfrm>
            <a:off x="1873694" y="277503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Identity managemen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FB65475-08B2-8FAA-D1E2-0A6C0A9276AE}"/>
              </a:ext>
            </a:extLst>
          </p:cNvPr>
          <p:cNvSpPr/>
          <p:nvPr/>
        </p:nvSpPr>
        <p:spPr>
          <a:xfrm>
            <a:off x="5194709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curity, safety, quality evaluatio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F5481B-B758-B4B5-B11D-FF00085AE238}"/>
              </a:ext>
            </a:extLst>
          </p:cNvPr>
          <p:cNvSpPr/>
          <p:nvPr/>
        </p:nvSpPr>
        <p:spPr>
          <a:xfrm>
            <a:off x="5194709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AI red-team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8A5195A-26CD-EAC6-6152-BF2BF4FF8932}"/>
              </a:ext>
            </a:extLst>
          </p:cNvPr>
          <p:cNvSpPr/>
          <p:nvPr/>
        </p:nvSpPr>
        <p:spPr>
          <a:xfrm>
            <a:off x="5194709" y="168324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Evaluations results review</a:t>
            </a:r>
          </a:p>
        </p:txBody>
      </p:sp>
    </p:spTree>
    <p:extLst>
      <p:ext uri="{BB962C8B-B14F-4D97-AF65-F5344CB8AC3E}">
        <p14:creationId xmlns:p14="http://schemas.microsoft.com/office/powerpoint/2010/main" val="4266372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B3B3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5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5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25E-6 -4.81481E-6 L -1.25E-6 0.02616 " pathEditMode="relative" rAng="0" ptsTypes="AA">
                                      <p:cBhvr>
                                        <p:cTn id="55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5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25E-6 -4.81481E-6 L -1.25E-6 0.02616 " pathEditMode="relative" rAng="0" ptsTypes="AA">
                                      <p:cBhvr>
                                        <p:cTn id="60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25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1.25E-6 0.02616 " pathEditMode="relative" rAng="0" ptsTypes="AA">
                                      <p:cBhvr>
                                        <p:cTn id="66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4" grpId="0" animBg="1"/>
      <p:bldP spid="25" grpId="0" animBg="1"/>
      <p:bldP spid="31" grpId="0" animBg="1"/>
      <p:bldP spid="36" grpId="0" animBg="1"/>
      <p:bldP spid="44" grpId="0" animBg="1"/>
      <p:bldP spid="2" grpId="0" animBg="1"/>
      <p:bldP spid="3" grpId="0" animBg="1"/>
      <p:bldP spid="6" grpId="0" animBg="1"/>
      <p:bldP spid="6" grpId="1" animBg="1"/>
      <p:bldP spid="7" grpId="0" animBg="1"/>
      <p:bldP spid="7" grpId="1" animBg="1"/>
      <p:bldP spid="10" grpId="0" animBg="1"/>
      <p:bldP spid="10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756409-49E4-D33A-57C1-E11BF20230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6">
            <a:extLst>
              <a:ext uri="{FF2B5EF4-FFF2-40B4-BE49-F238E27FC236}">
                <a16:creationId xmlns:a16="http://schemas.microsoft.com/office/drawing/2014/main" id="{4A0F5EBF-24B8-052B-57BD-E277DF987D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4456" y="1730778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Qualit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Groundednes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oherence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luency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Relevance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Retrieval score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imilarity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NLP metrics (e.g., F1 scor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11" name="Rectangle: Rounded Corners 16">
            <a:extLst>
              <a:ext uri="{FF2B5EF4-FFF2-40B4-BE49-F238E27FC236}">
                <a16:creationId xmlns:a16="http://schemas.microsoft.com/office/drawing/2014/main" id="{31ACEE23-3EAB-5EA2-60E9-CF992AE3FD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472080" y="1730778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Risk &amp; safet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Jailbreak defect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Hate and unfairness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xual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Violence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lf-harm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rotected material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Ungrounded attributes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ode vulnerability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Rectangle: Rounded Corners 16">
            <a:extLst>
              <a:ext uri="{FF2B5EF4-FFF2-40B4-BE49-F238E27FC236}">
                <a16:creationId xmlns:a16="http://schemas.microsoft.com/office/drawing/2014/main" id="{ED96CD58-3164-0F5D-21AA-0BAA5DBE7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059704" y="1730777"/>
            <a:ext cx="3212851" cy="4211430"/>
          </a:xfrm>
          <a:prstGeom prst="roundRect">
            <a:avLst>
              <a:gd name="adj" fmla="val 3396"/>
            </a:avLst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000" tIns="145600" rIns="182000" bIns="145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19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Intent resolution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ool call accuracy 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ask adherence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Response completeness </a:t>
            </a:r>
          </a:p>
          <a:p>
            <a:pPr marL="0" marR="0" lvl="0" indent="0" algn="ctr" defTabSz="9280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5C7059CE-34B4-8C17-8923-5912C471EA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4456" y="5705601"/>
            <a:ext cx="10423088" cy="4814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+ Custom evaluator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AE4D2A60-14F4-2DB0-E345-F7460355A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noProof="0"/>
              <a:t>Evaluator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00480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D0350-6D36-16C7-3736-BE2387B13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596FF1-C765-5B05-A3E5-68EA5BF421B5}"/>
              </a:ext>
            </a:extLst>
          </p:cNvPr>
          <p:cNvSpPr/>
          <p:nvPr/>
        </p:nvSpPr>
        <p:spPr>
          <a:xfrm>
            <a:off x="4563799" y="1447891"/>
            <a:ext cx="3142982" cy="1216954"/>
          </a:xfrm>
          <a:prstGeom prst="roundRect">
            <a:avLst/>
          </a:prstGeom>
          <a:gradFill flip="none" rotWithShape="1">
            <a:gsLst>
              <a:gs pos="80000">
                <a:srgbClr val="8DC8E8"/>
              </a:gs>
              <a:gs pos="0">
                <a:srgbClr val="FFB3BB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0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4040" rIns="91440" bIns="364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320060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000000"/>
                </a:solidFill>
                <a:latin typeface="Segoe UI Semibold" panose="020B0702040204020203" pitchFamily="34" charset="0"/>
                <a:cs typeface="Segoe UI" pitchFamily="34" charset="0"/>
              </a:rPr>
              <a:t>User query</a:t>
            </a:r>
          </a:p>
          <a:p>
            <a:pPr algn="ctr" defTabSz="2320060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000000"/>
                </a:solidFill>
                <a:latin typeface="Segoe UI Semibold" panose="020B0702040204020203" pitchFamily="34" charset="0"/>
                <a:cs typeface="Segoe UI" pitchFamily="34" charset="0"/>
              </a:rPr>
              <a:t>“Weather now.”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77CCE-4872-27C7-7304-1EF3C2F8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/>
              <a:t>Evaluations for agent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9BF44E6-2C50-FABB-24C6-39FC91A4F3CD}"/>
              </a:ext>
            </a:extLst>
          </p:cNvPr>
          <p:cNvSpPr/>
          <p:nvPr/>
        </p:nvSpPr>
        <p:spPr>
          <a:xfrm>
            <a:off x="8474034" y="3006030"/>
            <a:ext cx="3142982" cy="1216954"/>
          </a:xfrm>
          <a:prstGeom prst="roundRect">
            <a:avLst/>
          </a:prstGeom>
          <a:gradFill flip="none" rotWithShape="1">
            <a:gsLst>
              <a:gs pos="80000">
                <a:srgbClr val="8DC8E8"/>
              </a:gs>
              <a:gs pos="0">
                <a:srgbClr val="FFB3BB"/>
              </a:gs>
            </a:gsLst>
            <a:path path="circle">
              <a:fillToRect l="100000" t="100000"/>
            </a:path>
            <a:tileRect r="-100000" b="-100000"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4040" rIns="0" bIns="364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 Response Agent</a:t>
            </a:r>
          </a:p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“The temperature is 30 degrees.”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129AFB6-C24B-7A10-415F-068EB1AE700C}"/>
              </a:ext>
            </a:extLst>
          </p:cNvPr>
          <p:cNvSpPr/>
          <p:nvPr/>
        </p:nvSpPr>
        <p:spPr>
          <a:xfrm>
            <a:off x="4541306" y="3006030"/>
            <a:ext cx="3142982" cy="1216954"/>
          </a:xfrm>
          <a:prstGeom prst="roundRect">
            <a:avLst/>
          </a:prstGeom>
          <a:gradFill flip="none" rotWithShape="1">
            <a:gsLst>
              <a:gs pos="80000">
                <a:srgbClr val="8DC8E8"/>
              </a:gs>
              <a:gs pos="0">
                <a:srgbClr val="FFB3BB"/>
              </a:gs>
            </a:gsLst>
            <a:path path="circle">
              <a:fillToRect l="100000" t="100000"/>
            </a:path>
            <a:tileRect r="-100000" b="-100000"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4040" rIns="0" bIns="364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Tool Agent</a:t>
            </a:r>
          </a:p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all location and time API</a:t>
            </a:r>
          </a:p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all weather API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390A6E7-6614-4361-96DF-4BF7A14634EB}"/>
              </a:ext>
            </a:extLst>
          </p:cNvPr>
          <p:cNvSpPr/>
          <p:nvPr/>
        </p:nvSpPr>
        <p:spPr>
          <a:xfrm>
            <a:off x="608578" y="3006030"/>
            <a:ext cx="3142982" cy="1216954"/>
          </a:xfrm>
          <a:prstGeom prst="roundRect">
            <a:avLst/>
          </a:prstGeom>
          <a:gradFill flip="none" rotWithShape="1">
            <a:gsLst>
              <a:gs pos="80000">
                <a:srgbClr val="8DC8E8"/>
              </a:gs>
              <a:gs pos="0">
                <a:srgbClr val="FFB3BB"/>
              </a:gs>
            </a:gsLst>
            <a:path path="circle">
              <a:fillToRect l="100000" t="100000"/>
            </a:path>
            <a:tileRect r="-100000" b="-100000"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4040" rIns="91440" bIns="364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 pitchFamily="34" charset="0"/>
              </a:rPr>
              <a:t>User Proxy Agent</a:t>
            </a:r>
          </a:p>
          <a:p>
            <a:pPr marL="0" marR="0" lvl="0" indent="0" algn="ctr" defTabSz="232006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User wants to know the local weather in current ti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AADE5D-660D-6655-1FDA-8FA0B22F3B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89254" y="5443966"/>
            <a:ext cx="10892071" cy="838409"/>
            <a:chOff x="588023" y="1311143"/>
            <a:chExt cx="10768212" cy="1802999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89A686C-BE75-46EC-EF7F-6620F4E6B7F3}"/>
                </a:ext>
              </a:extLst>
            </p:cNvPr>
            <p:cNvSpPr txBox="1"/>
            <p:nvPr/>
          </p:nvSpPr>
          <p:spPr>
            <a:xfrm>
              <a:off x="588023" y="1311143"/>
              <a:ext cx="3041234" cy="1787059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rrect intent classification</a:t>
              </a:r>
            </a:p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larification for ambiguity</a:t>
              </a:r>
            </a:p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cope adherenc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F79A9F5-08A5-3FD4-2519-1A57AC08741A}"/>
                </a:ext>
              </a:extLst>
            </p:cNvPr>
            <p:cNvSpPr txBox="1"/>
            <p:nvPr/>
          </p:nvSpPr>
          <p:spPr>
            <a:xfrm>
              <a:off x="4302466" y="1311143"/>
              <a:ext cx="3409007" cy="1787059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ingle-step call accuracy</a:t>
              </a:r>
            </a:p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arameter extraction accuracy</a:t>
              </a:r>
            </a:p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ulti-step trajectory efficiency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454C98B-C3C9-49EA-8FF1-648E3D9DDB81}"/>
                </a:ext>
              </a:extLst>
            </p:cNvPr>
            <p:cNvSpPr txBox="1"/>
            <p:nvPr/>
          </p:nvSpPr>
          <p:spPr>
            <a:xfrm>
              <a:off x="8303702" y="1327083"/>
              <a:ext cx="3052533" cy="1787059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nal response satisfaction</a:t>
              </a:r>
            </a:p>
            <a:p>
              <a:pPr marL="228600" marR="0" lvl="1" indent="-22860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sponse completeness</a:t>
              </a:r>
            </a:p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lt"/>
                <a:cs typeface="Segoe UI Light"/>
              </a:endParaRPr>
            </a:p>
          </p:txBody>
        </p:sp>
      </p:grp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80705FF-4E85-07A3-72EB-DCA3C72B3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flipH="1" flipV="1">
            <a:off x="7795983" y="2427668"/>
            <a:ext cx="800639" cy="518350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5111F36-9706-8EA8-BFF7-10A86357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3548821" y="2434681"/>
            <a:ext cx="865074" cy="462616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D2444D3-CA03-8AA1-22BD-4D46207DC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3846732" y="3817106"/>
            <a:ext cx="591640" cy="0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AA153D5-EB86-B47B-D481-DFB905ADE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870279" y="3817106"/>
            <a:ext cx="591640" cy="0"/>
          </a:xfrm>
          <a:prstGeom prst="straightConnector1">
            <a:avLst/>
          </a:prstGeom>
          <a:ln w="25400">
            <a:solidFill>
              <a:schemeClr val="tx1">
                <a:lumMod val="75000"/>
              </a:schemeClr>
            </a:solidFill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2270B9A-431B-CD2A-8877-6B0D1B819DBE}"/>
              </a:ext>
            </a:extLst>
          </p:cNvPr>
          <p:cNvSpPr txBox="1"/>
          <p:nvPr/>
        </p:nvSpPr>
        <p:spPr>
          <a:xfrm>
            <a:off x="1178956" y="4446044"/>
            <a:ext cx="20022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tent resolu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44B59D-6EA4-C1AC-CDE3-CF1D6C98DEF1}"/>
              </a:ext>
            </a:extLst>
          </p:cNvPr>
          <p:cNvSpPr txBox="1"/>
          <p:nvPr/>
        </p:nvSpPr>
        <p:spPr>
          <a:xfrm>
            <a:off x="4902557" y="4446044"/>
            <a:ext cx="26104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ool calling evalu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D67789-6042-767F-31BC-6F7410AD31C7}"/>
              </a:ext>
            </a:extLst>
          </p:cNvPr>
          <p:cNvSpPr txBox="1"/>
          <p:nvPr/>
        </p:nvSpPr>
        <p:spPr>
          <a:xfrm>
            <a:off x="8948749" y="4446044"/>
            <a:ext cx="18244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ask adherenc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9C52C10-956A-0D3C-1D86-C4549362E1BA}"/>
              </a:ext>
            </a:extLst>
          </p:cNvPr>
          <p:cNvSpPr/>
          <p:nvPr/>
        </p:nvSpPr>
        <p:spPr bwMode="auto">
          <a:xfrm>
            <a:off x="837563" y="4898300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  <a:latin typeface="+mj-lt"/>
                <a:cs typeface="Segoe UI" pitchFamily="34" charset="0"/>
              </a:rPr>
              <a:t>Preview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26222D2-AEC9-1ED8-AED1-7378EC04A5B0}"/>
              </a:ext>
            </a:extLst>
          </p:cNvPr>
          <p:cNvSpPr/>
          <p:nvPr/>
        </p:nvSpPr>
        <p:spPr bwMode="auto">
          <a:xfrm>
            <a:off x="4753494" y="4898300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  <a:latin typeface="+mj-lt"/>
                <a:cs typeface="Segoe UI" pitchFamily="34" charset="0"/>
              </a:rPr>
              <a:t>Preview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9FED710-6BB4-3C96-3E70-907BA4DA6787}"/>
              </a:ext>
            </a:extLst>
          </p:cNvPr>
          <p:cNvSpPr/>
          <p:nvPr/>
        </p:nvSpPr>
        <p:spPr bwMode="auto">
          <a:xfrm>
            <a:off x="8518456" y="4898300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  <a:latin typeface="+mj-lt"/>
                <a:cs typeface="Segoe UI" pitchFamily="34" charset="0"/>
              </a:rPr>
              <a:t>Preview</a:t>
            </a:r>
          </a:p>
        </p:txBody>
      </p:sp>
    </p:spTree>
    <p:extLst>
      <p:ext uri="{BB962C8B-B14F-4D97-AF65-F5344CB8AC3E}">
        <p14:creationId xmlns:p14="http://schemas.microsoft.com/office/powerpoint/2010/main" val="190330916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4200" y="1687117"/>
            <a:ext cx="5577840" cy="1846659"/>
          </a:xfrm>
        </p:spPr>
        <p:txBody>
          <a:bodyPr/>
          <a:lstStyle/>
          <a:p>
            <a:r>
              <a:rPr lang="en-US" b="1" dirty="0"/>
              <a:t>Building secure agents with Azure AI Foundry and Microsoft Security 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1C9C0E1-E616-677F-52DA-9A933B9DFF20}"/>
              </a:ext>
            </a:extLst>
          </p:cNvPr>
          <p:cNvSpPr txBox="1">
            <a:spLocks/>
          </p:cNvSpPr>
          <p:nvPr/>
        </p:nvSpPr>
        <p:spPr bwMode="white">
          <a:xfrm>
            <a:off x="655320" y="4172885"/>
            <a:ext cx="5034280" cy="19959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arah Bird</a:t>
            </a:r>
          </a:p>
          <a:p>
            <a:r>
              <a:rPr lang="en-US" dirty="0"/>
              <a:t>Chief Product Officer for Responsible AI</a:t>
            </a:r>
          </a:p>
          <a:p>
            <a:endParaRPr lang="en-US" dirty="0"/>
          </a:p>
          <a:p>
            <a:r>
              <a:rPr lang="en-US" dirty="0"/>
              <a:t>Neta </a:t>
            </a:r>
            <a:r>
              <a:rPr lang="en-US" dirty="0" err="1"/>
              <a:t>Haiby</a:t>
            </a:r>
            <a:endParaRPr lang="en-US" dirty="0"/>
          </a:p>
          <a:p>
            <a:r>
              <a:rPr lang="en-US" dirty="0"/>
              <a:t>Partner Product Manager, Office of the CTO</a:t>
            </a:r>
          </a:p>
          <a:p>
            <a:endParaRPr lang="en-US" dirty="0"/>
          </a:p>
          <a:p>
            <a:r>
              <a:rPr lang="en-US" dirty="0"/>
              <a:t>Mehrnoosh </a:t>
            </a:r>
            <a:r>
              <a:rPr lang="en-US" dirty="0" err="1"/>
              <a:t>Sameki</a:t>
            </a:r>
            <a:endParaRPr lang="en-US" dirty="0"/>
          </a:p>
          <a:p>
            <a:r>
              <a:rPr lang="en-US" dirty="0"/>
              <a:t>Principal Product Manager, Azure AI Foundry </a:t>
            </a:r>
          </a:p>
        </p:txBody>
      </p:sp>
    </p:spTree>
    <p:extLst>
      <p:ext uri="{BB962C8B-B14F-4D97-AF65-F5344CB8AC3E}">
        <p14:creationId xmlns:p14="http://schemas.microsoft.com/office/powerpoint/2010/main" val="179507853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24841-414F-BBC8-0963-80E175E0F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AE71098-FA35-7E99-9DF3-9EA53590ECF3}"/>
              </a:ext>
            </a:extLst>
          </p:cNvPr>
          <p:cNvSpPr/>
          <p:nvPr/>
        </p:nvSpPr>
        <p:spPr>
          <a:xfrm>
            <a:off x="584200" y="1603440"/>
            <a:ext cx="11025188" cy="2217739"/>
          </a:xfrm>
          <a:prstGeom prst="rect">
            <a:avLst/>
          </a:prstGeom>
          <a:solidFill>
            <a:srgbClr val="8DC8E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Security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&amp; Risk</a:t>
            </a:r>
            <a:br>
              <a:rPr lang="en-CA" sz="1400">
                <a:solidFill>
                  <a:srgbClr val="000000"/>
                </a:solidFill>
                <a:cs typeface="Segoe UI" pitchFamily="34" charset="0"/>
              </a:rPr>
            </a:br>
            <a:r>
              <a:rPr lang="en-CA" sz="1400">
                <a:solidFill>
                  <a:srgbClr val="000000"/>
                </a:solidFill>
                <a:cs typeface="Segoe UI" pitchFamily="34" charset="0"/>
              </a:rPr>
              <a:t>Teams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C3D06D-7AF5-1C46-861F-766CF4D811C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2614" y="3892884"/>
            <a:ext cx="11025189" cy="2217739"/>
          </a:xfrm>
          <a:prstGeom prst="rect">
            <a:avLst/>
          </a:prstGeom>
          <a:solidFill>
            <a:srgbClr val="FFB3BB">
              <a:alpha val="20000"/>
            </a:srgbClr>
          </a:solidFill>
          <a:ln w="10795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Develop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871A16-EAB2-EFF7-7BCB-DA7D3D84C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121577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Evaluate &amp; Te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FC1EFE-8366-CBD8-5427-B452DAD8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800562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32472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Segoe UI" pitchFamily="34" charset="0"/>
              </a:rPr>
              <a:t>Plan &amp; Buil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FB0FD4-3DFF-0FC2-504E-A72DA9F9D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442591" y="1224951"/>
            <a:ext cx="3035769" cy="5036405"/>
          </a:xfrm>
          <a:prstGeom prst="roundRect">
            <a:avLst>
              <a:gd name="adj" fmla="val 4982"/>
            </a:avLst>
          </a:prstGeom>
          <a:noFill/>
          <a:ln w="12700" cap="rnd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/>
              <a:t>Deploy &amp; Manag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8543FC6-D4F6-358E-8953-40CF9ED153B2}"/>
              </a:ext>
            </a:extLst>
          </p:cNvPr>
          <p:cNvSpPr/>
          <p:nvPr/>
        </p:nvSpPr>
        <p:spPr>
          <a:xfrm>
            <a:off x="5178714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curity, safety, quality evaluation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FDE22BA-A8A5-C097-1241-89D352BBA7E4}"/>
              </a:ext>
            </a:extLst>
          </p:cNvPr>
          <p:cNvSpPr/>
          <p:nvPr/>
        </p:nvSpPr>
        <p:spPr>
          <a:xfrm>
            <a:off x="5178714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AI red-teaming 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47A147F-1C95-5E90-501A-4A28258FA236}"/>
              </a:ext>
            </a:extLst>
          </p:cNvPr>
          <p:cNvSpPr/>
          <p:nvPr/>
        </p:nvSpPr>
        <p:spPr>
          <a:xfrm>
            <a:off x="5178714" y="168324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Evaluation results review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AA14EAC-AC42-6E42-D673-F2224A288330}"/>
              </a:ext>
            </a:extLst>
          </p:cNvPr>
          <p:cNvSpPr/>
          <p:nvPr/>
        </p:nvSpPr>
        <p:spPr>
          <a:xfrm>
            <a:off x="8515723" y="168324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Threat protec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FCE50F4-A463-6D16-CC46-794C3BF5DC6E}"/>
              </a:ext>
            </a:extLst>
          </p:cNvPr>
          <p:cNvSpPr/>
          <p:nvPr/>
        </p:nvSpPr>
        <p:spPr>
          <a:xfrm>
            <a:off x="8515723" y="2224566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Data securit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8B7B46A-6EE0-F113-51A0-E105A8BB7C63}"/>
              </a:ext>
            </a:extLst>
          </p:cNvPr>
          <p:cNvSpPr/>
          <p:nvPr/>
        </p:nvSpPr>
        <p:spPr>
          <a:xfrm>
            <a:off x="8515723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Monitor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FFC64E4-008C-316D-F663-7A236571436F}"/>
              </a:ext>
            </a:extLst>
          </p:cNvPr>
          <p:cNvSpPr/>
          <p:nvPr/>
        </p:nvSpPr>
        <p:spPr>
          <a:xfrm>
            <a:off x="8515723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curity alert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90A22FD-276A-70E5-79B0-96FCE7FF9082}"/>
              </a:ext>
            </a:extLst>
          </p:cNvPr>
          <p:cNvSpPr/>
          <p:nvPr/>
        </p:nvSpPr>
        <p:spPr>
          <a:xfrm>
            <a:off x="1873694" y="395436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project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5311698-9602-5868-C047-E5D1B1792761}"/>
              </a:ext>
            </a:extLst>
          </p:cNvPr>
          <p:cNvSpPr/>
          <p:nvPr/>
        </p:nvSpPr>
        <p:spPr>
          <a:xfrm>
            <a:off x="1873694" y="450026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elect model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0FB6503-3198-D499-8833-D6AA000C5401}"/>
              </a:ext>
            </a:extLst>
          </p:cNvPr>
          <p:cNvSpPr/>
          <p:nvPr/>
        </p:nvSpPr>
        <p:spPr>
          <a:xfrm>
            <a:off x="1873694" y="5592053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recommendation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0CDB87A-1500-359E-E8D5-63CF90368937}"/>
              </a:ext>
            </a:extLst>
          </p:cNvPr>
          <p:cNvSpPr/>
          <p:nvPr/>
        </p:nvSpPr>
        <p:spPr>
          <a:xfrm>
            <a:off x="1873694" y="5046158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FFB3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Guardrails &amp; control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134F29E-6637-DB5D-D2BD-8098A2CD322A}"/>
              </a:ext>
            </a:extLst>
          </p:cNvPr>
          <p:cNvSpPr/>
          <p:nvPr/>
        </p:nvSpPr>
        <p:spPr>
          <a:xfrm>
            <a:off x="1873694" y="1683247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Scope risk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B7B0F8-8439-9AD7-DADB-A694C71DEE6F}"/>
              </a:ext>
            </a:extLst>
          </p:cNvPr>
          <p:cNvSpPr/>
          <p:nvPr/>
        </p:nvSpPr>
        <p:spPr>
          <a:xfrm>
            <a:off x="1873694" y="2229142"/>
            <a:ext cx="2889504" cy="438912"/>
          </a:xfrm>
          <a:prstGeom prst="roundRect">
            <a:avLst>
              <a:gd name="adj" fmla="val 16667"/>
            </a:avLst>
          </a:prstGeom>
          <a:solidFill>
            <a:srgbClr val="A9D5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cs typeface="Segoe UI" panose="020B0502040204020203" pitchFamily="34" charset="0"/>
              </a:rPr>
              <a:t>Posture management</a:t>
            </a:r>
          </a:p>
        </p:txBody>
      </p:sp>
    </p:spTree>
    <p:extLst>
      <p:ext uri="{BB962C8B-B14F-4D97-AF65-F5344CB8AC3E}">
        <p14:creationId xmlns:p14="http://schemas.microsoft.com/office/powerpoint/2010/main" val="30178903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B3B3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1B3B3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5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3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3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4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5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5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5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5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5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91667E-6 -4.81481E-6 L 2.91667E-6 0.02616 " pathEditMode="relative" rAng="0" ptsTypes="AA">
                                      <p:cBhvr>
                                        <p:cTn id="62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0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0 L 2.91667E-6 0.02616 " pathEditMode="relative" rAng="0" ptsTypes="AA">
                                      <p:cBhvr>
                                        <p:cTn id="68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4.81481E-6 L 2.91667E-6 0.02616 " pathEditMode="relative" rAng="0" ptsTypes="AA">
                                      <p:cBhvr>
                                        <p:cTn id="7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3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4.44444E-6 L 2.91667E-6 0.02616 " pathEditMode="relative" rAng="0" ptsTypes="AA">
                                      <p:cBhvr>
                                        <p:cTn id="80" dur="5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20" grpId="0" animBg="1"/>
      <p:bldP spid="22" grpId="0" animBg="1"/>
      <p:bldP spid="24" grpId="0" animBg="1"/>
      <p:bldP spid="8" grpId="0" animBg="1"/>
      <p:bldP spid="8" grpId="1" animBg="1"/>
      <p:bldP spid="9" grpId="0" animBg="1"/>
      <p:bldP spid="9" grpId="1" animBg="1"/>
      <p:bldP spid="11" grpId="0" animBg="1"/>
      <p:bldP spid="11" grpId="1" animBg="1"/>
      <p:bldP spid="17" grpId="0" animBg="1"/>
      <p:bldP spid="17" grpId="1" animBg="1"/>
      <p:bldP spid="3" grpId="0" animBg="1"/>
      <p:bldP spid="4" grpId="0" animBg="1"/>
      <p:bldP spid="5" grpId="0" animBg="1"/>
      <p:bldP spid="6" grpId="0" animBg="1"/>
      <p:bldP spid="7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CAFAE-DD41-9918-ACC9-DE9C6DF8B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96696"/>
            <a:ext cx="11017250" cy="554038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/>
              <a:t>Microsoft Entra Agent I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1DD8CB9-723C-2234-1089-D7133155110B}"/>
              </a:ext>
            </a:extLst>
          </p:cNvPr>
          <p:cNvSpPr/>
          <p:nvPr/>
        </p:nvSpPr>
        <p:spPr bwMode="auto">
          <a:xfrm>
            <a:off x="579469" y="2916954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ecure by desig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2AB1524-3FB1-5FE0-1F45-E613F5B889BE}"/>
              </a:ext>
            </a:extLst>
          </p:cNvPr>
          <p:cNvSpPr/>
          <p:nvPr/>
        </p:nvSpPr>
        <p:spPr bwMode="auto">
          <a:xfrm>
            <a:off x="4374296" y="2916954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eployable at scal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745DC79-5C70-762D-697B-3EED6CF3C25A}"/>
              </a:ext>
            </a:extLst>
          </p:cNvPr>
          <p:cNvSpPr/>
          <p:nvPr/>
        </p:nvSpPr>
        <p:spPr bwMode="auto">
          <a:xfrm>
            <a:off x="8169122" y="2916954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Enterprise-grade visibilit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912766B-EC59-83E6-FC49-5768E9CA5CD7}"/>
              </a:ext>
            </a:extLst>
          </p:cNvPr>
          <p:cNvSpPr/>
          <p:nvPr/>
        </p:nvSpPr>
        <p:spPr bwMode="auto">
          <a:xfrm>
            <a:off x="4753494" y="2017713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review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08B0AEF-4E1D-DB76-C888-AA361D1ACFCA}"/>
              </a:ext>
            </a:extLst>
          </p:cNvPr>
          <p:cNvSpPr/>
          <p:nvPr/>
        </p:nvSpPr>
        <p:spPr bwMode="auto">
          <a:xfrm>
            <a:off x="579469" y="3773860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Enforce least privilege, protect access, and reduce sprawl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B0D8377-C853-0B46-09F0-28D8962A0481}"/>
              </a:ext>
            </a:extLst>
          </p:cNvPr>
          <p:cNvSpPr/>
          <p:nvPr/>
        </p:nvSpPr>
        <p:spPr bwMode="auto">
          <a:xfrm>
            <a:off x="4374295" y="3773860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Org-wide onboarding, multi-tenant ready, no extra dev work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4245F15-A41A-DFE9-10D8-988FA5D348FA}"/>
              </a:ext>
            </a:extLst>
          </p:cNvPr>
          <p:cNvSpPr/>
          <p:nvPr/>
        </p:nvSpPr>
        <p:spPr bwMode="auto">
          <a:xfrm>
            <a:off x="8169121" y="3773859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Track, audit, and govern AI agents from a single directory</a:t>
            </a:r>
          </a:p>
        </p:txBody>
      </p:sp>
      <p:grpSp>
        <p:nvGrpSpPr>
          <p:cNvPr id="4" name="Group 3" descr="Azure AI Foundry tag">
            <a:extLst>
              <a:ext uri="{FF2B5EF4-FFF2-40B4-BE49-F238E27FC236}">
                <a16:creationId xmlns:a16="http://schemas.microsoft.com/office/drawing/2014/main" id="{A4033A25-84EF-6EA8-F9C2-E94516A9202E}"/>
              </a:ext>
            </a:extLst>
          </p:cNvPr>
          <p:cNvGrpSpPr/>
          <p:nvPr/>
        </p:nvGrpSpPr>
        <p:grpSpPr>
          <a:xfrm>
            <a:off x="3340293" y="0"/>
            <a:ext cx="5388839" cy="479061"/>
            <a:chOff x="3140342" y="-6677"/>
            <a:chExt cx="6160137" cy="547628"/>
          </a:xfrm>
        </p:grpSpPr>
        <p:sp>
          <p:nvSpPr>
            <p:cNvPr id="5" name="Round Same Side Corner Rectangle 4">
              <a:extLst>
                <a:ext uri="{FF2B5EF4-FFF2-40B4-BE49-F238E27FC236}">
                  <a16:creationId xmlns:a16="http://schemas.microsoft.com/office/drawing/2014/main" id="{3F5AFCD5-3B53-52BD-4539-8120199802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10800000">
              <a:off x="3140342" y="-6677"/>
              <a:ext cx="6160137" cy="547628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80000">
                  <a:srgbClr val="8DC8E8"/>
                </a:gs>
                <a:gs pos="0">
                  <a:srgbClr val="FFB3BB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endParaRPr>
            </a:p>
          </p:txBody>
        </p:sp>
        <p:sp>
          <p:nvSpPr>
            <p:cNvPr id="6" name="Title 6">
              <a:extLst>
                <a:ext uri="{FF2B5EF4-FFF2-40B4-BE49-F238E27FC236}">
                  <a16:creationId xmlns:a16="http://schemas.microsoft.com/office/drawing/2014/main" id="{F97452D1-3EEC-39E3-E3C1-7EBD33266A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3957040" y="100024"/>
              <a:ext cx="4542269" cy="31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ctr" defTabSz="49101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lang="en-US" sz="4800" b="0" kern="1200" cap="none" spc="-50" baseline="0">
                  <a:ln w="3175">
                    <a:noFill/>
                  </a:ln>
                  <a:gradFill>
                    <a:gsLst>
                      <a:gs pos="1399">
                        <a:srgbClr val="FFFFFF"/>
                      </a:gs>
                      <a:gs pos="12587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latin typeface="Segoe UI Variable Display Semib" pitchFamily="2" charset="0"/>
                  <a:cs typeface="Segoe UI" pitchFamily="34" charset="0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280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"/>
                </a:rPr>
                <a:t>Azure AI Foundry x Microsoft Security</a:t>
              </a:r>
              <a:endPara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/>
              </a:endParaRPr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FFF9F83-A498-151E-2C1C-9305818B3D1C}"/>
              </a:ext>
            </a:extLst>
          </p:cNvPr>
          <p:cNvSpPr/>
          <p:nvPr/>
        </p:nvSpPr>
        <p:spPr bwMode="auto">
          <a:xfrm>
            <a:off x="4290710" y="6095496"/>
            <a:ext cx="3610577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+mj-lt"/>
              </a:rPr>
              <a:t>aka.ms/</a:t>
            </a:r>
            <a:r>
              <a:rPr lang="en-US" sz="2000" err="1">
                <a:solidFill>
                  <a:schemeClr val="tx1"/>
                </a:solidFill>
                <a:latin typeface="+mj-lt"/>
              </a:rPr>
              <a:t>EntraAgentID</a:t>
            </a:r>
            <a:endParaRPr lang="en-US" sz="200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0318839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081D1-E74A-AFDD-73B9-0E1109F55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7498E-594E-DFEB-A218-4A8176EBF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96696"/>
            <a:ext cx="11017250" cy="554038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/>
              <a:t>Microsoft Purview + Foundr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EBEA5CE-157D-D90D-A87C-11E3251EB1D0}"/>
              </a:ext>
            </a:extLst>
          </p:cNvPr>
          <p:cNvSpPr/>
          <p:nvPr/>
        </p:nvSpPr>
        <p:spPr bwMode="auto">
          <a:xfrm>
            <a:off x="573150" y="3076541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iscover data risk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8991854-307C-26D2-EDBC-F7C81279B116}"/>
              </a:ext>
            </a:extLst>
          </p:cNvPr>
          <p:cNvSpPr/>
          <p:nvPr/>
        </p:nvSpPr>
        <p:spPr bwMode="auto">
          <a:xfrm>
            <a:off x="4367977" y="3076541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tect sensitive data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15A918C-10FB-4D26-2977-9EF67EE62C78}"/>
              </a:ext>
            </a:extLst>
          </p:cNvPr>
          <p:cNvSpPr/>
          <p:nvPr/>
        </p:nvSpPr>
        <p:spPr bwMode="auto">
          <a:xfrm>
            <a:off x="8162803" y="3076541"/>
            <a:ext cx="3443410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overn AI interaction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1C30AB9-AB48-8B69-7948-D6D57684A11E}"/>
              </a:ext>
            </a:extLst>
          </p:cNvPr>
          <p:cNvSpPr/>
          <p:nvPr/>
        </p:nvSpPr>
        <p:spPr bwMode="auto">
          <a:xfrm>
            <a:off x="4753494" y="2017713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review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81C0310-73EF-FF66-24DD-B37FD53BF283}"/>
              </a:ext>
            </a:extLst>
          </p:cNvPr>
          <p:cNvSpPr/>
          <p:nvPr/>
        </p:nvSpPr>
        <p:spPr bwMode="auto">
          <a:xfrm>
            <a:off x="573150" y="3933447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iscover data security and compliance risks and get recommended action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C3CE908-2186-4C49-9207-FD0FE053B36F}"/>
              </a:ext>
            </a:extLst>
          </p:cNvPr>
          <p:cNvSpPr/>
          <p:nvPr/>
        </p:nvSpPr>
        <p:spPr bwMode="auto">
          <a:xfrm>
            <a:off x="4367976" y="3933447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Protect sensitive data against insider risk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77A83D5-B70B-0A42-EC2A-8F1F1E0C8B7C}"/>
              </a:ext>
            </a:extLst>
          </p:cNvPr>
          <p:cNvSpPr/>
          <p:nvPr/>
        </p:nvSpPr>
        <p:spPr bwMode="auto">
          <a:xfrm>
            <a:off x="8162802" y="3933446"/>
            <a:ext cx="3443410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Govern user prompts and AI responses with audit logs, data lifecycle policies, eDiscovery, and compliance policies</a:t>
            </a:r>
          </a:p>
        </p:txBody>
      </p:sp>
      <p:grpSp>
        <p:nvGrpSpPr>
          <p:cNvPr id="4" name="Group 3" descr="Azure AI Foundry tag">
            <a:extLst>
              <a:ext uri="{FF2B5EF4-FFF2-40B4-BE49-F238E27FC236}">
                <a16:creationId xmlns:a16="http://schemas.microsoft.com/office/drawing/2014/main" id="{622BAD53-FD9F-9B54-7933-B1C31C50A2AC}"/>
              </a:ext>
            </a:extLst>
          </p:cNvPr>
          <p:cNvGrpSpPr/>
          <p:nvPr/>
        </p:nvGrpSpPr>
        <p:grpSpPr>
          <a:xfrm>
            <a:off x="3340293" y="0"/>
            <a:ext cx="5388839" cy="479061"/>
            <a:chOff x="3140342" y="-6677"/>
            <a:chExt cx="6160137" cy="547628"/>
          </a:xfrm>
        </p:grpSpPr>
        <p:sp>
          <p:nvSpPr>
            <p:cNvPr id="5" name="Round Same Side Corner Rectangle 4">
              <a:extLst>
                <a:ext uri="{FF2B5EF4-FFF2-40B4-BE49-F238E27FC236}">
                  <a16:creationId xmlns:a16="http://schemas.microsoft.com/office/drawing/2014/main" id="{A2A8DA88-872A-A38C-94A3-D8F119A2D7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10800000">
              <a:off x="3140342" y="-6677"/>
              <a:ext cx="6160137" cy="547628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80000">
                  <a:srgbClr val="8DC8E8"/>
                </a:gs>
                <a:gs pos="0">
                  <a:srgbClr val="FFB3BB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endParaRPr>
            </a:p>
          </p:txBody>
        </p:sp>
        <p:sp>
          <p:nvSpPr>
            <p:cNvPr id="6" name="Title 6">
              <a:extLst>
                <a:ext uri="{FF2B5EF4-FFF2-40B4-BE49-F238E27FC236}">
                  <a16:creationId xmlns:a16="http://schemas.microsoft.com/office/drawing/2014/main" id="{C6C985B0-FD42-EC8B-B5BF-AB010058CF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3957040" y="100024"/>
              <a:ext cx="4542269" cy="31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ctr" defTabSz="49101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lang="en-US" sz="4800" b="0" kern="1200" cap="none" spc="-50" baseline="0">
                  <a:ln w="3175">
                    <a:noFill/>
                  </a:ln>
                  <a:gradFill>
                    <a:gsLst>
                      <a:gs pos="1399">
                        <a:srgbClr val="FFFFFF"/>
                      </a:gs>
                      <a:gs pos="12587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latin typeface="Segoe UI Variable Display Semib" pitchFamily="2" charset="0"/>
                  <a:cs typeface="Segoe UI" pitchFamily="34" charset="0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280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"/>
                </a:rPr>
                <a:t>Azure AI Foundry x Microsoft Security</a:t>
              </a:r>
              <a:endPara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09994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F0989-2E99-C977-7F93-9646D9431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2BCA7-3CD1-D0D6-7490-98FFB3476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96696"/>
            <a:ext cx="11017250" cy="554038"/>
          </a:xfrm>
        </p:spPr>
        <p:txBody>
          <a:bodyPr/>
          <a:lstStyle/>
          <a:p>
            <a:pPr algn="ctr"/>
            <a:r>
              <a:rPr lang="en-US"/>
              <a:t>Microsoft Defender + Foundry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02EBFD0-7393-D330-54B4-2E3BB45F18D2}"/>
              </a:ext>
            </a:extLst>
          </p:cNvPr>
          <p:cNvSpPr/>
          <p:nvPr/>
        </p:nvSpPr>
        <p:spPr bwMode="auto">
          <a:xfrm>
            <a:off x="582356" y="3082872"/>
            <a:ext cx="5366402" cy="74814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I security posture recommendation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5C5BF6C-01B2-8D94-87A4-74D78F236DD3}"/>
              </a:ext>
            </a:extLst>
          </p:cNvPr>
          <p:cNvSpPr/>
          <p:nvPr/>
        </p:nvSpPr>
        <p:spPr bwMode="auto">
          <a:xfrm>
            <a:off x="6243240" y="3082872"/>
            <a:ext cx="5366402" cy="748145"/>
          </a:xfrm>
          <a:prstGeom prst="roundRect">
            <a:avLst/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ntime threat protection aler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E976B77-5010-E128-A8E3-9EA9ADD8C364}"/>
              </a:ext>
            </a:extLst>
          </p:cNvPr>
          <p:cNvSpPr/>
          <p:nvPr/>
        </p:nvSpPr>
        <p:spPr bwMode="auto">
          <a:xfrm>
            <a:off x="4753494" y="2017713"/>
            <a:ext cx="2685011" cy="4322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review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1975A21-071B-78D5-F617-F1E2AF6D8BFC}"/>
              </a:ext>
            </a:extLst>
          </p:cNvPr>
          <p:cNvSpPr/>
          <p:nvPr/>
        </p:nvSpPr>
        <p:spPr bwMode="auto">
          <a:xfrm>
            <a:off x="578928" y="4141033"/>
            <a:ext cx="5366402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iscover and remediate misconfigurations and vulnerabilities in AI services and provide best practices to reduce risk 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64B37CF-8D38-80D0-8993-449344D5AC96}"/>
              </a:ext>
            </a:extLst>
          </p:cNvPr>
          <p:cNvSpPr/>
          <p:nvPr/>
        </p:nvSpPr>
        <p:spPr bwMode="auto">
          <a:xfrm>
            <a:off x="6239811" y="4141033"/>
            <a:ext cx="5366402" cy="1927857"/>
          </a:xfrm>
          <a:prstGeom prst="roundRect">
            <a:avLst>
              <a:gd name="adj" fmla="val 6468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rgbClr val="000000"/>
                </a:solidFill>
                <a:latin typeface="Segoe UI"/>
                <a:cs typeface="Segoe UI" pitchFamily="34" charset="0"/>
              </a:rPr>
              <a:t>Notify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 developers of active threats and provide guidance for mitigation, across more than 15 detection types </a:t>
            </a:r>
          </a:p>
        </p:txBody>
      </p:sp>
      <p:grpSp>
        <p:nvGrpSpPr>
          <p:cNvPr id="25" name="Group 24" descr="Azure AI Foundry tag">
            <a:extLst>
              <a:ext uri="{FF2B5EF4-FFF2-40B4-BE49-F238E27FC236}">
                <a16:creationId xmlns:a16="http://schemas.microsoft.com/office/drawing/2014/main" id="{602EF67D-5C6A-66BE-A81C-628125B8B465}"/>
              </a:ext>
            </a:extLst>
          </p:cNvPr>
          <p:cNvGrpSpPr/>
          <p:nvPr/>
        </p:nvGrpSpPr>
        <p:grpSpPr>
          <a:xfrm>
            <a:off x="3340293" y="0"/>
            <a:ext cx="5388839" cy="479061"/>
            <a:chOff x="3140342" y="-6677"/>
            <a:chExt cx="6160137" cy="547628"/>
          </a:xfrm>
        </p:grpSpPr>
        <p:sp>
          <p:nvSpPr>
            <p:cNvPr id="29" name="Round Same Side Corner Rectangle 4">
              <a:extLst>
                <a:ext uri="{FF2B5EF4-FFF2-40B4-BE49-F238E27FC236}">
                  <a16:creationId xmlns:a16="http://schemas.microsoft.com/office/drawing/2014/main" id="{C07DF129-8D16-9066-C5D0-4DCDD9AE6B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10800000">
              <a:off x="3140342" y="-6677"/>
              <a:ext cx="6160137" cy="547628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80000">
                  <a:srgbClr val="8DC8E8"/>
                </a:gs>
                <a:gs pos="0">
                  <a:srgbClr val="FFB3BB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endParaRPr>
            </a:p>
          </p:txBody>
        </p:sp>
        <p:sp>
          <p:nvSpPr>
            <p:cNvPr id="30" name="Title 6">
              <a:extLst>
                <a:ext uri="{FF2B5EF4-FFF2-40B4-BE49-F238E27FC236}">
                  <a16:creationId xmlns:a16="http://schemas.microsoft.com/office/drawing/2014/main" id="{48709562-4F50-F248-992A-8141A4C672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3957040" y="100024"/>
              <a:ext cx="4542269" cy="31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ctr" defTabSz="49101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lang="en-US" sz="4800" b="0" kern="1200" cap="none" spc="-50" baseline="0">
                  <a:ln w="3175">
                    <a:noFill/>
                  </a:ln>
                  <a:gradFill>
                    <a:gsLst>
                      <a:gs pos="1399">
                        <a:srgbClr val="FFFFFF"/>
                      </a:gs>
                      <a:gs pos="12587">
                        <a:srgbClr val="FFFFFF"/>
                      </a:gs>
                    </a:gsLst>
                    <a:path path="circle">
                      <a:fillToRect l="100000" t="100000"/>
                    </a:path>
                  </a:gradFill>
                  <a:effectLst/>
                  <a:latin typeface="Segoe UI Variable Display Semib" pitchFamily="2" charset="0"/>
                  <a:cs typeface="Segoe UI" pitchFamily="34" charset="0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rgbClr val="FFFFFF"/>
                  </a:solidFill>
                  <a:latin typeface="Segoe UI"/>
                </a:defRPr>
              </a:lvl9pPr>
            </a:lstStyle>
            <a:p>
              <a:pPr marL="0" marR="0" lvl="0" indent="0" algn="ctr" defTabSz="92809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"/>
                </a:rPr>
                <a:t>Azure AI Foundry x Microsoft Security</a:t>
              </a:r>
              <a:endPara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97688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7">
            <a:extLst>
              <a:ext uri="{FF2B5EF4-FFF2-40B4-BE49-F238E27FC236}">
                <a16:creationId xmlns:a16="http://schemas.microsoft.com/office/drawing/2014/main" id="{A2BEE4B5-30B5-1702-FFAA-FC3047C5B6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963" y="2185628"/>
            <a:ext cx="11020426" cy="2460008"/>
          </a:xfrm>
          <a:prstGeom prst="roundRect">
            <a:avLst>
              <a:gd name="adj" fmla="val 6538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CF57B9B-F630-EFD9-0810-2D8D15ECF9DE}"/>
              </a:ext>
            </a:extLst>
          </p:cNvPr>
          <p:cNvSpPr txBox="1"/>
          <p:nvPr/>
        </p:nvSpPr>
        <p:spPr>
          <a:xfrm>
            <a:off x="1632075" y="2523080"/>
            <a:ext cx="2366994" cy="123110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>
                <a:tab pos="1371655" algn="l"/>
              </a:tabLst>
              <a:defRPr kumimoji="0" sz="2800" b="1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/>
                <a:cs typeface="Segoe UI" panose="020B0502040204020203" pitchFamily="34" charset="0"/>
              </a:defRPr>
            </a:lvl1pPr>
            <a:lvl2pPr marL="228600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tx1"/>
                </a:solidFill>
              </a:defRPr>
            </a:lvl2pPr>
            <a:lvl3pPr marL="457200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spc="0" baseline="0">
                <a:solidFill>
                  <a:schemeClr val="tx1"/>
                </a:solidFill>
              </a:defRPr>
            </a:lvl3pPr>
            <a:lvl4pPr marL="661988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solidFill>
                  <a:schemeClr val="tx1"/>
                </a:solidFill>
              </a:defRPr>
            </a:lvl4pPr>
            <a:lvl5pPr marL="855663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solidFill>
                  <a:schemeClr val="tx1"/>
                </a:solidFill>
              </a:defRPr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8000" b="0">
                <a:ln>
                  <a:noFill/>
                </a:ln>
                <a:solidFill>
                  <a:srgbClr val="000000"/>
                </a:solidFill>
                <a:cs typeface="Segoe UI Semibold" panose="020B0702040204020203" pitchFamily="34" charset="0"/>
              </a:rPr>
              <a:t>90</a:t>
            </a: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6561B0-DCC5-A92E-3BD8-7127FB9D8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68162" y="2592567"/>
            <a:ext cx="0" cy="1672865"/>
          </a:xfrm>
          <a:prstGeom prst="line">
            <a:avLst/>
          </a:prstGeom>
          <a:ln w="38100">
            <a:solidFill>
              <a:srgbClr val="FFFFFF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056BC58-2C33-5EC0-1BA5-F859A2F4DC52}"/>
              </a:ext>
            </a:extLst>
          </p:cNvPr>
          <p:cNvSpPr txBox="1"/>
          <p:nvPr/>
        </p:nvSpPr>
        <p:spPr>
          <a:xfrm>
            <a:off x="974850" y="3918664"/>
            <a:ext cx="3501074" cy="287258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aseline="30000">
                <a:solidFill>
                  <a:srgbClr val="000000"/>
                </a:solidFill>
                <a:latin typeface="Segoe UI"/>
                <a:cs typeface="Segoe UI Semibold" panose="020B0702040204020203" pitchFamily="34" charset="0"/>
              </a:rPr>
              <a:t>o</a:t>
            </a:r>
            <a:r>
              <a:rPr kumimoji="0" lang="en-US" sz="2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f enterprises use A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F44458-AEDF-E607-219D-079F83C7EA0C}"/>
              </a:ext>
            </a:extLst>
          </p:cNvPr>
          <p:cNvSpPr txBox="1"/>
          <p:nvPr/>
        </p:nvSpPr>
        <p:spPr>
          <a:xfrm>
            <a:off x="601663" y="6081742"/>
            <a:ext cx="5858844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defTabSz="914367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McKinsey, 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The state of AI: How organizations are rewiring to capture valu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3AD8F552-B75E-9243-57EA-C14975014BD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019832" y="3077078"/>
            <a:ext cx="6538306" cy="67710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5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We are in the era of AI</a:t>
            </a:r>
          </a:p>
        </p:txBody>
      </p:sp>
    </p:spTree>
    <p:extLst>
      <p:ext uri="{BB962C8B-B14F-4D97-AF65-F5344CB8AC3E}">
        <p14:creationId xmlns:p14="http://schemas.microsoft.com/office/powerpoint/2010/main" val="19534411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3.33333E-6 L 2.29167E-6 0.04352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39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14A63-37E6-7469-924C-46F24E012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7">
            <a:extLst>
              <a:ext uri="{FF2B5EF4-FFF2-40B4-BE49-F238E27FC236}">
                <a16:creationId xmlns:a16="http://schemas.microsoft.com/office/drawing/2014/main" id="{C513F366-1CA4-3FFB-16F2-231E65F12B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963" y="2185628"/>
            <a:ext cx="11020426" cy="2460008"/>
          </a:xfrm>
          <a:prstGeom prst="roundRect">
            <a:avLst>
              <a:gd name="adj" fmla="val 6538"/>
            </a:avLst>
          </a:pr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01DE594-E271-313A-1C64-1444A0D45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3152001"/>
            <a:ext cx="6538306" cy="553998"/>
          </a:xfrm>
        </p:spPr>
        <p:txBody>
          <a:bodyPr/>
          <a:lstStyle/>
          <a:p>
            <a:pPr algn="ctr"/>
            <a:r>
              <a:rPr lang="en-US"/>
              <a:t>Agentic AI is the next wav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33EC58-D743-66AB-65BF-D392941BF9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27269" y="2592567"/>
            <a:ext cx="0" cy="1672865"/>
          </a:xfrm>
          <a:prstGeom prst="line">
            <a:avLst/>
          </a:prstGeom>
          <a:ln w="38100">
            <a:solidFill>
              <a:srgbClr val="FFFFFF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066F178-8B80-3C8D-0296-18185F573F8B}"/>
              </a:ext>
            </a:extLst>
          </p:cNvPr>
          <p:cNvSpPr txBox="1"/>
          <p:nvPr/>
        </p:nvSpPr>
        <p:spPr>
          <a:xfrm>
            <a:off x="8192931" y="2471158"/>
            <a:ext cx="2366994" cy="123110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 typeface="Wingdings" panose="05000000000000000000" pitchFamily="2" charset="2"/>
              <a:buNone/>
              <a:tabLst>
                <a:tab pos="1371655" algn="l"/>
              </a:tabLst>
              <a:defRPr kumimoji="0" sz="2800" b="1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100000">
                      <a:srgbClr val="318581"/>
                    </a:gs>
                    <a:gs pos="0">
                      <a:srgbClr val="F65567"/>
                    </a:gs>
                    <a:gs pos="32000">
                      <a:srgbClr val="AC35AF"/>
                    </a:gs>
                    <a:gs pos="68000">
                      <a:srgbClr val="0A6BBA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Segoe UI Semibold"/>
                <a:cs typeface="Segoe UI" panose="020B0502040204020203" pitchFamily="34" charset="0"/>
              </a:defRPr>
            </a:lvl1pPr>
            <a:lvl2pPr marL="228600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tx1"/>
                </a:solidFill>
              </a:defRPr>
            </a:lvl2pPr>
            <a:lvl3pPr marL="457200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spc="0" baseline="0">
                <a:solidFill>
                  <a:schemeClr val="tx1"/>
                </a:solidFill>
              </a:defRPr>
            </a:lvl3pPr>
            <a:lvl4pPr marL="661988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solidFill>
                  <a:schemeClr val="tx1"/>
                </a:solidFill>
              </a:defRPr>
            </a:lvl4pPr>
            <a:lvl5pPr marL="855663"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spc="0" baseline="0">
                <a:solidFill>
                  <a:schemeClr val="tx1"/>
                </a:solidFill>
              </a:defRPr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81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BDF080-F2F8-B21A-D1A7-37749E89D974}"/>
              </a:ext>
            </a:extLst>
          </p:cNvPr>
          <p:cNvSpPr txBox="1"/>
          <p:nvPr/>
        </p:nvSpPr>
        <p:spPr>
          <a:xfrm>
            <a:off x="7321254" y="3706656"/>
            <a:ext cx="4110349" cy="738664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aders expect agents to be integrated into their company’s AI strategy in next 12–18 months —Work Trend Index Annual Report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655B6E-5F21-41B5-C0D8-6CCBD8158E93}"/>
              </a:ext>
            </a:extLst>
          </p:cNvPr>
          <p:cNvSpPr txBox="1"/>
          <p:nvPr/>
        </p:nvSpPr>
        <p:spPr>
          <a:xfrm>
            <a:off x="601663" y="6081742"/>
            <a:ext cx="5858844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Work Index Annual Report, 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3" tooltip="https://www.microsoft.com/en-us/worklab/work-trend-index/2025-the-year-the-frontier-firm-is-born"/>
              </a:rPr>
              <a:t>2025: The Year the Frontier Firm Is Bor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172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0 L 3.75E-6 0.04352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2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AC3CE-BCF5-2A35-2F5C-4C60CDA16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/>
              <a:t>The growing AI trust gap</a:t>
            </a:r>
            <a:endParaRPr lang="en-US" b="1"/>
          </a:p>
        </p:txBody>
      </p:sp>
      <p:sp>
        <p:nvSpPr>
          <p:cNvPr id="10" name="Security box" descr="Trustworthy AI surrounds all of Azure and Cloud to Edge">
            <a:extLst>
              <a:ext uri="{FF2B5EF4-FFF2-40B4-BE49-F238E27FC236}">
                <a16:creationId xmlns:a16="http://schemas.microsoft.com/office/drawing/2014/main" id="{B8CC2A17-0993-387D-F93D-BA07E3E6DD72}"/>
              </a:ext>
            </a:extLst>
          </p:cNvPr>
          <p:cNvSpPr/>
          <p:nvPr/>
        </p:nvSpPr>
        <p:spPr bwMode="auto">
          <a:xfrm>
            <a:off x="585787" y="1428178"/>
            <a:ext cx="11020425" cy="4832349"/>
          </a:xfrm>
          <a:prstGeom prst="roundRect">
            <a:avLst>
              <a:gd name="adj" fmla="val 3773"/>
            </a:avLst>
          </a:prstGeom>
          <a:gradFill flip="none" rotWithShape="1"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rgbClr val="B1B3B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3428" tIns="98743" rIns="123428" bIns="9874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293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65A831D-C88E-268A-E6C0-FECFF2190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/>
        </p:nvGraphicFramePr>
        <p:xfrm>
          <a:off x="754666" y="1682496"/>
          <a:ext cx="10682669" cy="4398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900AD4D-1504-FC39-AF8C-A54207B169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1562901" y="2323970"/>
            <a:ext cx="841248" cy="663996"/>
          </a:xfrm>
          <a:prstGeom prst="rect">
            <a:avLst/>
          </a:prstGeom>
          <a:gradFill>
            <a:gsLst>
              <a:gs pos="80000">
                <a:srgbClr val="A9D5ED">
                  <a:alpha val="10000"/>
                </a:srgbClr>
              </a:gs>
              <a:gs pos="0">
                <a:srgbClr val="FFC6CC">
                  <a:alpha val="10000"/>
                </a:srgbClr>
              </a:gs>
            </a:gsLst>
            <a:path path="circle">
              <a:fillToRect l="100000" t="100000"/>
            </a:path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0FD54E-F5F5-EB24-67ED-2366C0A32183}"/>
              </a:ext>
            </a:extLst>
          </p:cNvPr>
          <p:cNvSpPr txBox="1"/>
          <p:nvPr/>
        </p:nvSpPr>
        <p:spPr>
          <a:xfrm>
            <a:off x="585787" y="6514845"/>
            <a:ext cx="5858844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defTabSz="914367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KPMG, </a:t>
            </a:r>
            <a:r>
              <a:rPr lang="en-US" sz="1200">
                <a:hlinkClick r:id="rId4"/>
              </a:rPr>
              <a:t>Trust, attitudes and use of artificial intelligence: A global study 2025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6862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2CEEDD4-5C6C-EDB5-F246-84BDA73728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60547" y="2602187"/>
            <a:ext cx="8670906" cy="1653626"/>
          </a:xfrm>
          <a:custGeom>
            <a:avLst/>
            <a:gdLst>
              <a:gd name="connsiteX0" fmla="*/ 6151751 w 8670906"/>
              <a:gd name="connsiteY0" fmla="*/ 0 h 1653626"/>
              <a:gd name="connsiteX1" fmla="*/ 8463095 w 8670906"/>
              <a:gd name="connsiteY1" fmla="*/ 0 h 1653626"/>
              <a:gd name="connsiteX2" fmla="*/ 8670906 w 8670906"/>
              <a:gd name="connsiteY2" fmla="*/ 207811 h 1653626"/>
              <a:gd name="connsiteX3" fmla="*/ 8670906 w 8670906"/>
              <a:gd name="connsiteY3" fmla="*/ 1445815 h 1653626"/>
              <a:gd name="connsiteX4" fmla="*/ 8463095 w 8670906"/>
              <a:gd name="connsiteY4" fmla="*/ 1653626 h 1653626"/>
              <a:gd name="connsiteX5" fmla="*/ 6151751 w 8670906"/>
              <a:gd name="connsiteY5" fmla="*/ 1653626 h 1653626"/>
              <a:gd name="connsiteX6" fmla="*/ 5943940 w 8670906"/>
              <a:gd name="connsiteY6" fmla="*/ 1445815 h 1653626"/>
              <a:gd name="connsiteX7" fmla="*/ 5943940 w 8670906"/>
              <a:gd name="connsiteY7" fmla="*/ 207811 h 1653626"/>
              <a:gd name="connsiteX8" fmla="*/ 6151751 w 8670906"/>
              <a:gd name="connsiteY8" fmla="*/ 0 h 1653626"/>
              <a:gd name="connsiteX9" fmla="*/ 3179781 w 8670906"/>
              <a:gd name="connsiteY9" fmla="*/ 0 h 1653626"/>
              <a:gd name="connsiteX10" fmla="*/ 5491125 w 8670906"/>
              <a:gd name="connsiteY10" fmla="*/ 0 h 1653626"/>
              <a:gd name="connsiteX11" fmla="*/ 5698936 w 8670906"/>
              <a:gd name="connsiteY11" fmla="*/ 207811 h 1653626"/>
              <a:gd name="connsiteX12" fmla="*/ 5698936 w 8670906"/>
              <a:gd name="connsiteY12" fmla="*/ 1445815 h 1653626"/>
              <a:gd name="connsiteX13" fmla="*/ 5491125 w 8670906"/>
              <a:gd name="connsiteY13" fmla="*/ 1653626 h 1653626"/>
              <a:gd name="connsiteX14" fmla="*/ 3179781 w 8670906"/>
              <a:gd name="connsiteY14" fmla="*/ 1653626 h 1653626"/>
              <a:gd name="connsiteX15" fmla="*/ 2971970 w 8670906"/>
              <a:gd name="connsiteY15" fmla="*/ 1445815 h 1653626"/>
              <a:gd name="connsiteX16" fmla="*/ 2971970 w 8670906"/>
              <a:gd name="connsiteY16" fmla="*/ 207811 h 1653626"/>
              <a:gd name="connsiteX17" fmla="*/ 3179781 w 8670906"/>
              <a:gd name="connsiteY17" fmla="*/ 0 h 1653626"/>
              <a:gd name="connsiteX18" fmla="*/ 207811 w 8670906"/>
              <a:gd name="connsiteY18" fmla="*/ 0 h 1653626"/>
              <a:gd name="connsiteX19" fmla="*/ 2519155 w 8670906"/>
              <a:gd name="connsiteY19" fmla="*/ 0 h 1653626"/>
              <a:gd name="connsiteX20" fmla="*/ 2726966 w 8670906"/>
              <a:gd name="connsiteY20" fmla="*/ 207811 h 1653626"/>
              <a:gd name="connsiteX21" fmla="*/ 2726966 w 8670906"/>
              <a:gd name="connsiteY21" fmla="*/ 1445815 h 1653626"/>
              <a:gd name="connsiteX22" fmla="*/ 2519155 w 8670906"/>
              <a:gd name="connsiteY22" fmla="*/ 1653626 h 1653626"/>
              <a:gd name="connsiteX23" fmla="*/ 207811 w 8670906"/>
              <a:gd name="connsiteY23" fmla="*/ 1653626 h 1653626"/>
              <a:gd name="connsiteX24" fmla="*/ 0 w 8670906"/>
              <a:gd name="connsiteY24" fmla="*/ 1445815 h 1653626"/>
              <a:gd name="connsiteX25" fmla="*/ 0 w 8670906"/>
              <a:gd name="connsiteY25" fmla="*/ 207811 h 1653626"/>
              <a:gd name="connsiteX26" fmla="*/ 207811 w 8670906"/>
              <a:gd name="connsiteY26" fmla="*/ 0 h 1653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670906" h="1653626">
                <a:moveTo>
                  <a:pt x="6151751" y="0"/>
                </a:moveTo>
                <a:lnTo>
                  <a:pt x="8463095" y="0"/>
                </a:lnTo>
                <a:cubicBezTo>
                  <a:pt x="8577866" y="0"/>
                  <a:pt x="8670906" y="93040"/>
                  <a:pt x="8670906" y="207811"/>
                </a:cubicBezTo>
                <a:lnTo>
                  <a:pt x="8670906" y="1445815"/>
                </a:lnTo>
                <a:cubicBezTo>
                  <a:pt x="8670906" y="1560586"/>
                  <a:pt x="8577866" y="1653626"/>
                  <a:pt x="8463095" y="1653626"/>
                </a:cubicBezTo>
                <a:lnTo>
                  <a:pt x="6151751" y="1653626"/>
                </a:lnTo>
                <a:cubicBezTo>
                  <a:pt x="6036980" y="1653626"/>
                  <a:pt x="5943940" y="1560586"/>
                  <a:pt x="5943940" y="1445815"/>
                </a:cubicBezTo>
                <a:lnTo>
                  <a:pt x="5943940" y="207811"/>
                </a:lnTo>
                <a:cubicBezTo>
                  <a:pt x="5943940" y="93040"/>
                  <a:pt x="6036980" y="0"/>
                  <a:pt x="6151751" y="0"/>
                </a:cubicBezTo>
                <a:close/>
                <a:moveTo>
                  <a:pt x="3179781" y="0"/>
                </a:moveTo>
                <a:lnTo>
                  <a:pt x="5491125" y="0"/>
                </a:lnTo>
                <a:cubicBezTo>
                  <a:pt x="5605896" y="0"/>
                  <a:pt x="5698936" y="93040"/>
                  <a:pt x="5698936" y="207811"/>
                </a:cubicBezTo>
                <a:lnTo>
                  <a:pt x="5698936" y="1445815"/>
                </a:lnTo>
                <a:cubicBezTo>
                  <a:pt x="5698936" y="1560586"/>
                  <a:pt x="5605896" y="1653626"/>
                  <a:pt x="5491125" y="1653626"/>
                </a:cubicBezTo>
                <a:lnTo>
                  <a:pt x="3179781" y="1653626"/>
                </a:lnTo>
                <a:cubicBezTo>
                  <a:pt x="3065010" y="1653626"/>
                  <a:pt x="2971970" y="1560586"/>
                  <a:pt x="2971970" y="1445815"/>
                </a:cubicBezTo>
                <a:lnTo>
                  <a:pt x="2971970" y="207811"/>
                </a:lnTo>
                <a:cubicBezTo>
                  <a:pt x="2971970" y="93040"/>
                  <a:pt x="3065010" y="0"/>
                  <a:pt x="3179781" y="0"/>
                </a:cubicBezTo>
                <a:close/>
                <a:moveTo>
                  <a:pt x="207811" y="0"/>
                </a:moveTo>
                <a:lnTo>
                  <a:pt x="2519155" y="0"/>
                </a:lnTo>
                <a:cubicBezTo>
                  <a:pt x="2633926" y="0"/>
                  <a:pt x="2726966" y="93040"/>
                  <a:pt x="2726966" y="207811"/>
                </a:cubicBezTo>
                <a:lnTo>
                  <a:pt x="2726966" y="1445815"/>
                </a:lnTo>
                <a:cubicBezTo>
                  <a:pt x="2726966" y="1560586"/>
                  <a:pt x="2633926" y="1653626"/>
                  <a:pt x="2519155" y="1653626"/>
                </a:cubicBezTo>
                <a:lnTo>
                  <a:pt x="207811" y="1653626"/>
                </a:lnTo>
                <a:cubicBezTo>
                  <a:pt x="93040" y="1653626"/>
                  <a:pt x="0" y="1560586"/>
                  <a:pt x="0" y="1445815"/>
                </a:cubicBezTo>
                <a:lnTo>
                  <a:pt x="0" y="207811"/>
                </a:lnTo>
                <a:cubicBezTo>
                  <a:pt x="0" y="93040"/>
                  <a:pt x="93040" y="0"/>
                  <a:pt x="207811" y="0"/>
                </a:cubicBezTo>
                <a:close/>
              </a:path>
            </a:pathLst>
          </a:custGeom>
          <a:gradFill flip="none" rotWithShape="1">
            <a:gsLst>
              <a:gs pos="80000">
                <a:srgbClr val="A9D5ED"/>
              </a:gs>
              <a:gs pos="0">
                <a:srgbClr val="FFC6C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790FED-B667-7D01-0C24-155C157B4E19}"/>
              </a:ext>
            </a:extLst>
          </p:cNvPr>
          <p:cNvSpPr txBox="1"/>
          <p:nvPr/>
        </p:nvSpPr>
        <p:spPr>
          <a:xfrm>
            <a:off x="1868339" y="3213557"/>
            <a:ext cx="251138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lfun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2C2391-55F6-7695-19B1-3DFE5EDA5FA3}"/>
              </a:ext>
            </a:extLst>
          </p:cNvPr>
          <p:cNvSpPr txBox="1"/>
          <p:nvPr/>
        </p:nvSpPr>
        <p:spPr>
          <a:xfrm>
            <a:off x="4840308" y="3213557"/>
            <a:ext cx="251138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su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B72218-D2F0-59D6-1EBD-6F717D2D4D1A}"/>
              </a:ext>
            </a:extLst>
          </p:cNvPr>
          <p:cNvSpPr txBox="1"/>
          <p:nvPr/>
        </p:nvSpPr>
        <p:spPr>
          <a:xfrm>
            <a:off x="7812277" y="2998113"/>
            <a:ext cx="2511381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ystemic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isk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CAF69C-18CD-0353-F719-4E09414F7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902807"/>
            <a:ext cx="11017250" cy="677108"/>
          </a:xfrm>
        </p:spPr>
        <p:txBody>
          <a:bodyPr/>
          <a:lstStyle/>
          <a:p>
            <a:pPr algn="ctr"/>
            <a:r>
              <a:rPr lang="en-US" sz="4400"/>
              <a:t>AI ris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62A739-A031-0A7A-6862-449081581CE2}"/>
              </a:ext>
            </a:extLst>
          </p:cNvPr>
          <p:cNvSpPr txBox="1"/>
          <p:nvPr/>
        </p:nvSpPr>
        <p:spPr>
          <a:xfrm>
            <a:off x="588963" y="5951334"/>
            <a:ext cx="585884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67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</a:t>
            </a:r>
            <a:r>
              <a:rPr lang="en-US" sz="1200">
                <a:solidFill>
                  <a:srgbClr val="FFFFFF"/>
                </a:solidFill>
                <a:hlinkClick r:id="rId3"/>
              </a:rPr>
              <a:t>International Safety Report</a:t>
            </a:r>
            <a:endParaRPr lang="en-US" sz="1200">
              <a:solidFill>
                <a:srgbClr val="FFFFFF"/>
              </a:solidFill>
            </a:endParaRPr>
          </a:p>
          <a:p>
            <a:pPr lvl="0" defTabSz="914367"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29866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ED4C9F-5268-B8B9-1B0C-14C57D8F5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CBE8AAA-7EA4-410E-CCAC-54DE4680DC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60547" y="2445413"/>
            <a:ext cx="8670906" cy="1959899"/>
          </a:xfrm>
          <a:custGeom>
            <a:avLst/>
            <a:gdLst>
              <a:gd name="connsiteX0" fmla="*/ 6151751 w 8670906"/>
              <a:gd name="connsiteY0" fmla="*/ 0 h 1653626"/>
              <a:gd name="connsiteX1" fmla="*/ 8463095 w 8670906"/>
              <a:gd name="connsiteY1" fmla="*/ 0 h 1653626"/>
              <a:gd name="connsiteX2" fmla="*/ 8670906 w 8670906"/>
              <a:gd name="connsiteY2" fmla="*/ 207811 h 1653626"/>
              <a:gd name="connsiteX3" fmla="*/ 8670906 w 8670906"/>
              <a:gd name="connsiteY3" fmla="*/ 1445815 h 1653626"/>
              <a:gd name="connsiteX4" fmla="*/ 8463095 w 8670906"/>
              <a:gd name="connsiteY4" fmla="*/ 1653626 h 1653626"/>
              <a:gd name="connsiteX5" fmla="*/ 6151751 w 8670906"/>
              <a:gd name="connsiteY5" fmla="*/ 1653626 h 1653626"/>
              <a:gd name="connsiteX6" fmla="*/ 5943940 w 8670906"/>
              <a:gd name="connsiteY6" fmla="*/ 1445815 h 1653626"/>
              <a:gd name="connsiteX7" fmla="*/ 5943940 w 8670906"/>
              <a:gd name="connsiteY7" fmla="*/ 207811 h 1653626"/>
              <a:gd name="connsiteX8" fmla="*/ 6151751 w 8670906"/>
              <a:gd name="connsiteY8" fmla="*/ 0 h 1653626"/>
              <a:gd name="connsiteX9" fmla="*/ 3179781 w 8670906"/>
              <a:gd name="connsiteY9" fmla="*/ 0 h 1653626"/>
              <a:gd name="connsiteX10" fmla="*/ 5491125 w 8670906"/>
              <a:gd name="connsiteY10" fmla="*/ 0 h 1653626"/>
              <a:gd name="connsiteX11" fmla="*/ 5698936 w 8670906"/>
              <a:gd name="connsiteY11" fmla="*/ 207811 h 1653626"/>
              <a:gd name="connsiteX12" fmla="*/ 5698936 w 8670906"/>
              <a:gd name="connsiteY12" fmla="*/ 1445815 h 1653626"/>
              <a:gd name="connsiteX13" fmla="*/ 5491125 w 8670906"/>
              <a:gd name="connsiteY13" fmla="*/ 1653626 h 1653626"/>
              <a:gd name="connsiteX14" fmla="*/ 3179781 w 8670906"/>
              <a:gd name="connsiteY14" fmla="*/ 1653626 h 1653626"/>
              <a:gd name="connsiteX15" fmla="*/ 2971970 w 8670906"/>
              <a:gd name="connsiteY15" fmla="*/ 1445815 h 1653626"/>
              <a:gd name="connsiteX16" fmla="*/ 2971970 w 8670906"/>
              <a:gd name="connsiteY16" fmla="*/ 207811 h 1653626"/>
              <a:gd name="connsiteX17" fmla="*/ 3179781 w 8670906"/>
              <a:gd name="connsiteY17" fmla="*/ 0 h 1653626"/>
              <a:gd name="connsiteX18" fmla="*/ 207811 w 8670906"/>
              <a:gd name="connsiteY18" fmla="*/ 0 h 1653626"/>
              <a:gd name="connsiteX19" fmla="*/ 2519155 w 8670906"/>
              <a:gd name="connsiteY19" fmla="*/ 0 h 1653626"/>
              <a:gd name="connsiteX20" fmla="*/ 2726966 w 8670906"/>
              <a:gd name="connsiteY20" fmla="*/ 207811 h 1653626"/>
              <a:gd name="connsiteX21" fmla="*/ 2726966 w 8670906"/>
              <a:gd name="connsiteY21" fmla="*/ 1445815 h 1653626"/>
              <a:gd name="connsiteX22" fmla="*/ 2519155 w 8670906"/>
              <a:gd name="connsiteY22" fmla="*/ 1653626 h 1653626"/>
              <a:gd name="connsiteX23" fmla="*/ 207811 w 8670906"/>
              <a:gd name="connsiteY23" fmla="*/ 1653626 h 1653626"/>
              <a:gd name="connsiteX24" fmla="*/ 0 w 8670906"/>
              <a:gd name="connsiteY24" fmla="*/ 1445815 h 1653626"/>
              <a:gd name="connsiteX25" fmla="*/ 0 w 8670906"/>
              <a:gd name="connsiteY25" fmla="*/ 207811 h 1653626"/>
              <a:gd name="connsiteX26" fmla="*/ 207811 w 8670906"/>
              <a:gd name="connsiteY26" fmla="*/ 0 h 1653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670906" h="1653626">
                <a:moveTo>
                  <a:pt x="6151751" y="0"/>
                </a:moveTo>
                <a:lnTo>
                  <a:pt x="8463095" y="0"/>
                </a:lnTo>
                <a:cubicBezTo>
                  <a:pt x="8577866" y="0"/>
                  <a:pt x="8670906" y="93040"/>
                  <a:pt x="8670906" y="207811"/>
                </a:cubicBezTo>
                <a:lnTo>
                  <a:pt x="8670906" y="1445815"/>
                </a:lnTo>
                <a:cubicBezTo>
                  <a:pt x="8670906" y="1560586"/>
                  <a:pt x="8577866" y="1653626"/>
                  <a:pt x="8463095" y="1653626"/>
                </a:cubicBezTo>
                <a:lnTo>
                  <a:pt x="6151751" y="1653626"/>
                </a:lnTo>
                <a:cubicBezTo>
                  <a:pt x="6036980" y="1653626"/>
                  <a:pt x="5943940" y="1560586"/>
                  <a:pt x="5943940" y="1445815"/>
                </a:cubicBezTo>
                <a:lnTo>
                  <a:pt x="5943940" y="207811"/>
                </a:lnTo>
                <a:cubicBezTo>
                  <a:pt x="5943940" y="93040"/>
                  <a:pt x="6036980" y="0"/>
                  <a:pt x="6151751" y="0"/>
                </a:cubicBezTo>
                <a:close/>
                <a:moveTo>
                  <a:pt x="3179781" y="0"/>
                </a:moveTo>
                <a:lnTo>
                  <a:pt x="5491125" y="0"/>
                </a:lnTo>
                <a:cubicBezTo>
                  <a:pt x="5605896" y="0"/>
                  <a:pt x="5698936" y="93040"/>
                  <a:pt x="5698936" y="207811"/>
                </a:cubicBezTo>
                <a:lnTo>
                  <a:pt x="5698936" y="1445815"/>
                </a:lnTo>
                <a:cubicBezTo>
                  <a:pt x="5698936" y="1560586"/>
                  <a:pt x="5605896" y="1653626"/>
                  <a:pt x="5491125" y="1653626"/>
                </a:cubicBezTo>
                <a:lnTo>
                  <a:pt x="3179781" y="1653626"/>
                </a:lnTo>
                <a:cubicBezTo>
                  <a:pt x="3065010" y="1653626"/>
                  <a:pt x="2971970" y="1560586"/>
                  <a:pt x="2971970" y="1445815"/>
                </a:cubicBezTo>
                <a:lnTo>
                  <a:pt x="2971970" y="207811"/>
                </a:lnTo>
                <a:cubicBezTo>
                  <a:pt x="2971970" y="93040"/>
                  <a:pt x="3065010" y="0"/>
                  <a:pt x="3179781" y="0"/>
                </a:cubicBezTo>
                <a:close/>
                <a:moveTo>
                  <a:pt x="207811" y="0"/>
                </a:moveTo>
                <a:lnTo>
                  <a:pt x="2519155" y="0"/>
                </a:lnTo>
                <a:cubicBezTo>
                  <a:pt x="2633926" y="0"/>
                  <a:pt x="2726966" y="93040"/>
                  <a:pt x="2726966" y="207811"/>
                </a:cubicBezTo>
                <a:lnTo>
                  <a:pt x="2726966" y="1445815"/>
                </a:lnTo>
                <a:cubicBezTo>
                  <a:pt x="2726966" y="1560586"/>
                  <a:pt x="2633926" y="1653626"/>
                  <a:pt x="2519155" y="1653626"/>
                </a:cubicBezTo>
                <a:lnTo>
                  <a:pt x="207811" y="1653626"/>
                </a:lnTo>
                <a:cubicBezTo>
                  <a:pt x="93040" y="1653626"/>
                  <a:pt x="0" y="1560586"/>
                  <a:pt x="0" y="1445815"/>
                </a:cubicBezTo>
                <a:lnTo>
                  <a:pt x="0" y="207811"/>
                </a:lnTo>
                <a:cubicBezTo>
                  <a:pt x="0" y="93040"/>
                  <a:pt x="93040" y="0"/>
                  <a:pt x="207811" y="0"/>
                </a:cubicBezTo>
                <a:close/>
              </a:path>
            </a:pathLst>
          </a:custGeom>
          <a:blipFill dpi="0" rotWithShape="1">
            <a:blip r:embed="rId3">
              <a:alphaModFix amt="2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50000" sy="50000" flip="none" algn="tl"/>
          </a:blip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8" tIns="146247" rIns="182808" bIns="1462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1B3B3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Double Bracket 11">
            <a:extLst>
              <a:ext uri="{FF2B5EF4-FFF2-40B4-BE49-F238E27FC236}">
                <a16:creationId xmlns:a16="http://schemas.microsoft.com/office/drawing/2014/main" id="{E55CB2CB-E4BD-210C-9C3F-C4740EE4C0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60547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5" name="Double Bracket 14">
            <a:extLst>
              <a:ext uri="{FF2B5EF4-FFF2-40B4-BE49-F238E27FC236}">
                <a16:creationId xmlns:a16="http://schemas.microsoft.com/office/drawing/2014/main" id="{7DC66E44-1B40-EC30-ADE3-40A417AAE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9257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7" name="Double Bracket 16">
            <a:extLst>
              <a:ext uri="{FF2B5EF4-FFF2-40B4-BE49-F238E27FC236}">
                <a16:creationId xmlns:a16="http://schemas.microsoft.com/office/drawing/2014/main" id="{FAF9BBE8-5C3F-92AE-C1C7-930BB06922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17530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BBCF685-5158-72E3-CC1F-A703994E1A92}"/>
              </a:ext>
            </a:extLst>
          </p:cNvPr>
          <p:cNvSpPr/>
          <p:nvPr/>
        </p:nvSpPr>
        <p:spPr>
          <a:xfrm>
            <a:off x="1871812" y="3582643"/>
            <a:ext cx="2433626" cy="677108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ctr" defTabSz="10223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ask</a:t>
            </a:r>
            <a:b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isalignment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7E7F24B-E911-6657-0B29-E42139F2F869}"/>
              </a:ext>
            </a:extLst>
          </p:cNvPr>
          <p:cNvSpPr/>
          <p:nvPr/>
        </p:nvSpPr>
        <p:spPr>
          <a:xfrm>
            <a:off x="4950206" y="3580457"/>
            <a:ext cx="2291586" cy="677108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algn="ctr" defTabSz="1022350"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2200">
                <a:solidFill>
                  <a:srgbClr val="000000"/>
                </a:solidFill>
              </a:rPr>
              <a:t>Prompt injection attacks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385FDEB-2496-DC7C-66A6-9D49BCD6B855}"/>
              </a:ext>
            </a:extLst>
          </p:cNvPr>
          <p:cNvSpPr/>
          <p:nvPr/>
        </p:nvSpPr>
        <p:spPr>
          <a:xfrm>
            <a:off x="7878855" y="3580457"/>
            <a:ext cx="2390833" cy="720000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algn="ctr" defTabSz="1022350"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2200">
                <a:solidFill>
                  <a:srgbClr val="000000"/>
                </a:solidFill>
              </a:rPr>
              <a:t>Leaking sensitive 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AFB235-ED74-0D32-39AF-528622C842A6}"/>
              </a:ext>
            </a:extLst>
          </p:cNvPr>
          <p:cNvSpPr txBox="1"/>
          <p:nvPr/>
        </p:nvSpPr>
        <p:spPr>
          <a:xfrm>
            <a:off x="1871812" y="2416679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srgbClr val="2A446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7</a:t>
            </a: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D7F702-C6D0-516A-0E66-DF3DF8691CE0}"/>
              </a:ext>
            </a:extLst>
          </p:cNvPr>
          <p:cNvSpPr txBox="1"/>
          <p:nvPr/>
        </p:nvSpPr>
        <p:spPr>
          <a:xfrm>
            <a:off x="4850522" y="2416679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en-US" sz="7200">
                <a:solidFill>
                  <a:schemeClr val="tx2"/>
                </a:solidFill>
                <a:latin typeface="+mj-lt"/>
              </a:rPr>
              <a:t>85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50A51A-E74C-0D7D-C265-F4D3E44E2A5E}"/>
              </a:ext>
            </a:extLst>
          </p:cNvPr>
          <p:cNvSpPr txBox="1"/>
          <p:nvPr/>
        </p:nvSpPr>
        <p:spPr>
          <a:xfrm>
            <a:off x="7828795" y="2416678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en-US" sz="7200">
                <a:solidFill>
                  <a:schemeClr val="tx2"/>
                </a:solidFill>
                <a:latin typeface="+mj-lt"/>
              </a:rPr>
              <a:t>82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195125-0891-751D-0A81-3B9FAACC0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889566"/>
            <a:ext cx="11017250" cy="677108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400"/>
              <a:t>Agent malfunc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E4AF9-83F1-E917-895A-755AA8337739}"/>
              </a:ext>
            </a:extLst>
          </p:cNvPr>
          <p:cNvSpPr txBox="1"/>
          <p:nvPr/>
        </p:nvSpPr>
        <p:spPr>
          <a:xfrm>
            <a:off x="588963" y="5951334"/>
            <a:ext cx="5858844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defTabSz="914367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KPMG, </a:t>
            </a:r>
            <a:r>
              <a:rPr lang="en-US" sz="1200">
                <a:hlinkClick r:id="rId5"/>
              </a:rPr>
              <a:t>Trust, attitudes and use of artificial intelligence: A global study 2025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793100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9EF3C-4053-084C-9F2B-F783008757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26B42-93D7-DEA8-F77E-733D403B7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889566"/>
            <a:ext cx="11017250" cy="677108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400"/>
              <a:t>Agent misus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6D66166-5CB4-C6B1-9D01-52D41B369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60547" y="2445413"/>
            <a:ext cx="8670906" cy="1959899"/>
          </a:xfrm>
          <a:custGeom>
            <a:avLst/>
            <a:gdLst>
              <a:gd name="connsiteX0" fmla="*/ 6151751 w 8670906"/>
              <a:gd name="connsiteY0" fmla="*/ 0 h 1653626"/>
              <a:gd name="connsiteX1" fmla="*/ 8463095 w 8670906"/>
              <a:gd name="connsiteY1" fmla="*/ 0 h 1653626"/>
              <a:gd name="connsiteX2" fmla="*/ 8670906 w 8670906"/>
              <a:gd name="connsiteY2" fmla="*/ 207811 h 1653626"/>
              <a:gd name="connsiteX3" fmla="*/ 8670906 w 8670906"/>
              <a:gd name="connsiteY3" fmla="*/ 1445815 h 1653626"/>
              <a:gd name="connsiteX4" fmla="*/ 8463095 w 8670906"/>
              <a:gd name="connsiteY4" fmla="*/ 1653626 h 1653626"/>
              <a:gd name="connsiteX5" fmla="*/ 6151751 w 8670906"/>
              <a:gd name="connsiteY5" fmla="*/ 1653626 h 1653626"/>
              <a:gd name="connsiteX6" fmla="*/ 5943940 w 8670906"/>
              <a:gd name="connsiteY6" fmla="*/ 1445815 h 1653626"/>
              <a:gd name="connsiteX7" fmla="*/ 5943940 w 8670906"/>
              <a:gd name="connsiteY7" fmla="*/ 207811 h 1653626"/>
              <a:gd name="connsiteX8" fmla="*/ 6151751 w 8670906"/>
              <a:gd name="connsiteY8" fmla="*/ 0 h 1653626"/>
              <a:gd name="connsiteX9" fmla="*/ 3179781 w 8670906"/>
              <a:gd name="connsiteY9" fmla="*/ 0 h 1653626"/>
              <a:gd name="connsiteX10" fmla="*/ 5491125 w 8670906"/>
              <a:gd name="connsiteY10" fmla="*/ 0 h 1653626"/>
              <a:gd name="connsiteX11" fmla="*/ 5698936 w 8670906"/>
              <a:gd name="connsiteY11" fmla="*/ 207811 h 1653626"/>
              <a:gd name="connsiteX12" fmla="*/ 5698936 w 8670906"/>
              <a:gd name="connsiteY12" fmla="*/ 1445815 h 1653626"/>
              <a:gd name="connsiteX13" fmla="*/ 5491125 w 8670906"/>
              <a:gd name="connsiteY13" fmla="*/ 1653626 h 1653626"/>
              <a:gd name="connsiteX14" fmla="*/ 3179781 w 8670906"/>
              <a:gd name="connsiteY14" fmla="*/ 1653626 h 1653626"/>
              <a:gd name="connsiteX15" fmla="*/ 2971970 w 8670906"/>
              <a:gd name="connsiteY15" fmla="*/ 1445815 h 1653626"/>
              <a:gd name="connsiteX16" fmla="*/ 2971970 w 8670906"/>
              <a:gd name="connsiteY16" fmla="*/ 207811 h 1653626"/>
              <a:gd name="connsiteX17" fmla="*/ 3179781 w 8670906"/>
              <a:gd name="connsiteY17" fmla="*/ 0 h 1653626"/>
              <a:gd name="connsiteX18" fmla="*/ 207811 w 8670906"/>
              <a:gd name="connsiteY18" fmla="*/ 0 h 1653626"/>
              <a:gd name="connsiteX19" fmla="*/ 2519155 w 8670906"/>
              <a:gd name="connsiteY19" fmla="*/ 0 h 1653626"/>
              <a:gd name="connsiteX20" fmla="*/ 2726966 w 8670906"/>
              <a:gd name="connsiteY20" fmla="*/ 207811 h 1653626"/>
              <a:gd name="connsiteX21" fmla="*/ 2726966 w 8670906"/>
              <a:gd name="connsiteY21" fmla="*/ 1445815 h 1653626"/>
              <a:gd name="connsiteX22" fmla="*/ 2519155 w 8670906"/>
              <a:gd name="connsiteY22" fmla="*/ 1653626 h 1653626"/>
              <a:gd name="connsiteX23" fmla="*/ 207811 w 8670906"/>
              <a:gd name="connsiteY23" fmla="*/ 1653626 h 1653626"/>
              <a:gd name="connsiteX24" fmla="*/ 0 w 8670906"/>
              <a:gd name="connsiteY24" fmla="*/ 1445815 h 1653626"/>
              <a:gd name="connsiteX25" fmla="*/ 0 w 8670906"/>
              <a:gd name="connsiteY25" fmla="*/ 207811 h 1653626"/>
              <a:gd name="connsiteX26" fmla="*/ 207811 w 8670906"/>
              <a:gd name="connsiteY26" fmla="*/ 0 h 1653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670906" h="1653626">
                <a:moveTo>
                  <a:pt x="6151751" y="0"/>
                </a:moveTo>
                <a:lnTo>
                  <a:pt x="8463095" y="0"/>
                </a:lnTo>
                <a:cubicBezTo>
                  <a:pt x="8577866" y="0"/>
                  <a:pt x="8670906" y="93040"/>
                  <a:pt x="8670906" y="207811"/>
                </a:cubicBezTo>
                <a:lnTo>
                  <a:pt x="8670906" y="1445815"/>
                </a:lnTo>
                <a:cubicBezTo>
                  <a:pt x="8670906" y="1560586"/>
                  <a:pt x="8577866" y="1653626"/>
                  <a:pt x="8463095" y="1653626"/>
                </a:cubicBezTo>
                <a:lnTo>
                  <a:pt x="6151751" y="1653626"/>
                </a:lnTo>
                <a:cubicBezTo>
                  <a:pt x="6036980" y="1653626"/>
                  <a:pt x="5943940" y="1560586"/>
                  <a:pt x="5943940" y="1445815"/>
                </a:cubicBezTo>
                <a:lnTo>
                  <a:pt x="5943940" y="207811"/>
                </a:lnTo>
                <a:cubicBezTo>
                  <a:pt x="5943940" y="93040"/>
                  <a:pt x="6036980" y="0"/>
                  <a:pt x="6151751" y="0"/>
                </a:cubicBezTo>
                <a:close/>
                <a:moveTo>
                  <a:pt x="3179781" y="0"/>
                </a:moveTo>
                <a:lnTo>
                  <a:pt x="5491125" y="0"/>
                </a:lnTo>
                <a:cubicBezTo>
                  <a:pt x="5605896" y="0"/>
                  <a:pt x="5698936" y="93040"/>
                  <a:pt x="5698936" y="207811"/>
                </a:cubicBezTo>
                <a:lnTo>
                  <a:pt x="5698936" y="1445815"/>
                </a:lnTo>
                <a:cubicBezTo>
                  <a:pt x="5698936" y="1560586"/>
                  <a:pt x="5605896" y="1653626"/>
                  <a:pt x="5491125" y="1653626"/>
                </a:cubicBezTo>
                <a:lnTo>
                  <a:pt x="3179781" y="1653626"/>
                </a:lnTo>
                <a:cubicBezTo>
                  <a:pt x="3065010" y="1653626"/>
                  <a:pt x="2971970" y="1560586"/>
                  <a:pt x="2971970" y="1445815"/>
                </a:cubicBezTo>
                <a:lnTo>
                  <a:pt x="2971970" y="207811"/>
                </a:lnTo>
                <a:cubicBezTo>
                  <a:pt x="2971970" y="93040"/>
                  <a:pt x="3065010" y="0"/>
                  <a:pt x="3179781" y="0"/>
                </a:cubicBezTo>
                <a:close/>
                <a:moveTo>
                  <a:pt x="207811" y="0"/>
                </a:moveTo>
                <a:lnTo>
                  <a:pt x="2519155" y="0"/>
                </a:lnTo>
                <a:cubicBezTo>
                  <a:pt x="2633926" y="0"/>
                  <a:pt x="2726966" y="93040"/>
                  <a:pt x="2726966" y="207811"/>
                </a:cubicBezTo>
                <a:lnTo>
                  <a:pt x="2726966" y="1445815"/>
                </a:lnTo>
                <a:cubicBezTo>
                  <a:pt x="2726966" y="1560586"/>
                  <a:pt x="2633926" y="1653626"/>
                  <a:pt x="2519155" y="1653626"/>
                </a:cubicBezTo>
                <a:lnTo>
                  <a:pt x="207811" y="1653626"/>
                </a:lnTo>
                <a:cubicBezTo>
                  <a:pt x="93040" y="1653626"/>
                  <a:pt x="0" y="1560586"/>
                  <a:pt x="0" y="1445815"/>
                </a:cubicBezTo>
                <a:lnTo>
                  <a:pt x="0" y="207811"/>
                </a:lnTo>
                <a:cubicBezTo>
                  <a:pt x="0" y="93040"/>
                  <a:pt x="93040" y="0"/>
                  <a:pt x="207811" y="0"/>
                </a:cubicBezTo>
                <a:close/>
              </a:path>
            </a:pathLst>
          </a:custGeom>
          <a:blipFill dpi="0" rotWithShape="1">
            <a:blip r:embed="rId3">
              <a:alphaModFix amt="2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50000" sy="50000" flip="none" algn="tl"/>
          </a:blip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8" tIns="146247" rIns="182808" bIns="14624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1B3B3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Double Bracket 9">
            <a:extLst>
              <a:ext uri="{FF2B5EF4-FFF2-40B4-BE49-F238E27FC236}">
                <a16:creationId xmlns:a16="http://schemas.microsoft.com/office/drawing/2014/main" id="{F79854CD-6C66-381C-729F-783FF91BDD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60547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Double Bracket 10">
            <a:extLst>
              <a:ext uri="{FF2B5EF4-FFF2-40B4-BE49-F238E27FC236}">
                <a16:creationId xmlns:a16="http://schemas.microsoft.com/office/drawing/2014/main" id="{F6BE1B4B-2AE6-0FED-8420-555DF7D37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9257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Double Bracket 12">
            <a:extLst>
              <a:ext uri="{FF2B5EF4-FFF2-40B4-BE49-F238E27FC236}">
                <a16:creationId xmlns:a16="http://schemas.microsoft.com/office/drawing/2014/main" id="{65BE8B8A-5E29-0319-21AB-78F3325AA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17530" y="2445413"/>
            <a:ext cx="2713485" cy="1959900"/>
          </a:xfrm>
          <a:prstGeom prst="bracketPair">
            <a:avLst>
              <a:gd name="adj" fmla="val 13381"/>
            </a:avLst>
          </a:prstGeom>
          <a:solidFill>
            <a:srgbClr val="B9DCD2">
              <a:alpha val="5000"/>
            </a:srgbClr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C08BAFD-C9F1-92FA-2418-734F812DE3CE}"/>
              </a:ext>
            </a:extLst>
          </p:cNvPr>
          <p:cNvSpPr/>
          <p:nvPr/>
        </p:nvSpPr>
        <p:spPr>
          <a:xfrm>
            <a:off x="1871812" y="3582643"/>
            <a:ext cx="2433626" cy="338554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marR="0" lvl="0" indent="0" algn="ctr" defTabSz="10223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jacking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46C9239-70D5-F60A-2C8B-9F20F0D67621}"/>
              </a:ext>
            </a:extLst>
          </p:cNvPr>
          <p:cNvSpPr/>
          <p:nvPr/>
        </p:nvSpPr>
        <p:spPr>
          <a:xfrm>
            <a:off x="4950206" y="3580457"/>
            <a:ext cx="2291586" cy="677108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algn="ctr" defTabSz="1022350"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2200">
                <a:solidFill>
                  <a:srgbClr val="000000"/>
                </a:solidFill>
              </a:rPr>
              <a:t>Cybersecurity</a:t>
            </a:r>
            <a:br>
              <a:rPr lang="en-US" sz="2200">
                <a:solidFill>
                  <a:srgbClr val="000000"/>
                </a:solidFill>
              </a:rPr>
            </a:br>
            <a:r>
              <a:rPr lang="en-US" sz="2200">
                <a:solidFill>
                  <a:srgbClr val="000000"/>
                </a:solidFill>
              </a:rPr>
              <a:t>risks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F68E43E-044C-B004-83FC-13834B618B8E}"/>
              </a:ext>
            </a:extLst>
          </p:cNvPr>
          <p:cNvSpPr/>
          <p:nvPr/>
        </p:nvSpPr>
        <p:spPr>
          <a:xfrm>
            <a:off x="7878855" y="3580457"/>
            <a:ext cx="2390833" cy="720000"/>
          </a:xfrm>
          <a:custGeom>
            <a:avLst/>
            <a:gdLst>
              <a:gd name="connsiteX0" fmla="*/ 0 w 2889450"/>
              <a:gd name="connsiteY0" fmla="*/ 0 h 720000"/>
              <a:gd name="connsiteX1" fmla="*/ 2889450 w 2889450"/>
              <a:gd name="connsiteY1" fmla="*/ 0 h 720000"/>
              <a:gd name="connsiteX2" fmla="*/ 2889450 w 2889450"/>
              <a:gd name="connsiteY2" fmla="*/ 720000 h 720000"/>
              <a:gd name="connsiteX3" fmla="*/ 0 w 2889450"/>
              <a:gd name="connsiteY3" fmla="*/ 720000 h 720000"/>
              <a:gd name="connsiteX4" fmla="*/ 0 w 28894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9450" h="720000">
                <a:moveTo>
                  <a:pt x="0" y="0"/>
                </a:moveTo>
                <a:lnTo>
                  <a:pt x="2889450" y="0"/>
                </a:lnTo>
                <a:lnTo>
                  <a:pt x="28894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algn="ctr" defTabSz="1022350"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2200">
                <a:solidFill>
                  <a:srgbClr val="000000"/>
                </a:solidFill>
              </a:rPr>
              <a:t>Automating</a:t>
            </a:r>
            <a:br>
              <a:rPr lang="en-US" sz="2200">
                <a:solidFill>
                  <a:srgbClr val="000000"/>
                </a:solidFill>
              </a:rPr>
            </a:br>
            <a:r>
              <a:rPr lang="en-US" sz="2200">
                <a:solidFill>
                  <a:srgbClr val="000000"/>
                </a:solidFill>
              </a:rPr>
              <a:t>scam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B9A37B-C956-0ED1-F47B-8AE770720039}"/>
              </a:ext>
            </a:extLst>
          </p:cNvPr>
          <p:cNvSpPr txBox="1"/>
          <p:nvPr/>
        </p:nvSpPr>
        <p:spPr>
          <a:xfrm>
            <a:off x="1871812" y="2416679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85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FB9270-7F8F-7EF4-81E0-963DB38E144E}"/>
              </a:ext>
            </a:extLst>
          </p:cNvPr>
          <p:cNvSpPr txBox="1"/>
          <p:nvPr/>
        </p:nvSpPr>
        <p:spPr>
          <a:xfrm>
            <a:off x="4850522" y="2416679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en-US" sz="7200">
                <a:solidFill>
                  <a:schemeClr val="tx2"/>
                </a:solidFill>
                <a:latin typeface="+mj-lt"/>
              </a:rPr>
              <a:t>85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E36672-56A4-0146-2F7B-F2D0CEC46A5B}"/>
              </a:ext>
            </a:extLst>
          </p:cNvPr>
          <p:cNvSpPr txBox="1"/>
          <p:nvPr/>
        </p:nvSpPr>
        <p:spPr>
          <a:xfrm>
            <a:off x="7828795" y="2416678"/>
            <a:ext cx="2490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en-US" sz="7200">
                <a:solidFill>
                  <a:schemeClr val="tx2"/>
                </a:solidFill>
                <a:latin typeface="+mj-lt"/>
              </a:rPr>
              <a:t>81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7E677F-6459-FB11-085C-3C8384E64AAE}"/>
              </a:ext>
            </a:extLst>
          </p:cNvPr>
          <p:cNvSpPr txBox="1"/>
          <p:nvPr/>
        </p:nvSpPr>
        <p:spPr>
          <a:xfrm>
            <a:off x="588963" y="5951334"/>
            <a:ext cx="5858844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defTabSz="914367"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urce: KPMG, </a:t>
            </a:r>
            <a:r>
              <a:rPr lang="en-US" sz="1200">
                <a:hlinkClick r:id="rId5"/>
              </a:rPr>
              <a:t>Trust, attitudes and use of artificial intelligence: A global study 2025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74563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FAF18BF5-DF5E-FB14-EAF4-4649D0323D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51197" y="1462251"/>
            <a:ext cx="4029574" cy="3933498"/>
          </a:xfrm>
          <a:prstGeom prst="ellipse">
            <a:avLst/>
          </a:prstGeom>
          <a:solidFill>
            <a:srgbClr val="8DC8E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EA3380B-4CA1-BBF2-2CEB-9E01436F1B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511229" y="1462251"/>
            <a:ext cx="4029574" cy="3933498"/>
          </a:xfrm>
          <a:prstGeom prst="ellipse">
            <a:avLst/>
          </a:prstGeom>
          <a:solidFill>
            <a:srgbClr val="8DC8E8"/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708E24-3595-9690-2A44-540C9BB8FB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11230" y="1462251"/>
            <a:ext cx="4029574" cy="3933497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eloper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CE017EB-B6B0-8F30-A1B5-49966898E695}"/>
              </a:ext>
            </a:extLst>
          </p:cNvPr>
          <p:cNvSpPr/>
          <p:nvPr/>
        </p:nvSpPr>
        <p:spPr>
          <a:xfrm>
            <a:off x="5651196" y="1462251"/>
            <a:ext cx="4029574" cy="3933497"/>
          </a:xfrm>
          <a:prstGeom prst="ellipse">
            <a:avLst/>
          </a:prstGeom>
          <a:noFill/>
          <a:ln w="12700"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+mj-lt"/>
              </a:rPr>
              <a:t>Security &amp; </a:t>
            </a:r>
          </a:p>
          <a:p>
            <a:pPr algn="ctr"/>
            <a:r>
              <a:rPr lang="en-US" sz="2400">
                <a:solidFill>
                  <a:schemeClr val="tx1"/>
                </a:solidFill>
                <a:latin typeface="+mj-lt"/>
              </a:rPr>
              <a:t>Risk</a:t>
            </a:r>
            <a:br>
              <a:rPr lang="en-US" sz="2400">
                <a:solidFill>
                  <a:schemeClr val="tx1"/>
                </a:solidFill>
                <a:latin typeface="+mj-lt"/>
              </a:rPr>
            </a:br>
            <a:r>
              <a:rPr lang="en-US" sz="2400">
                <a:solidFill>
                  <a:schemeClr val="tx1"/>
                </a:solidFill>
                <a:latin typeface="+mj-lt"/>
              </a:rPr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2211108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0" fill="hold"/>
                                        <p:tgtEl>
                                          <p:spTgt spid="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100" fill="hold"/>
                                        <p:tgtEl>
                                          <p:spTgt spid="10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" fill="hold"/>
                                        <p:tgtEl>
                                          <p:spTgt spid="3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decel="100000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0" fill="hold"/>
                                        <p:tgtEl>
                                          <p:spTgt spid="11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1" grpId="2" animBg="1"/>
      <p:bldP spid="10" grpId="0" animBg="1"/>
      <p:bldP spid="10" grpId="1" animBg="1"/>
      <p:bldP spid="10" grpId="2" animBg="1"/>
      <p:bldP spid="2" grpId="0" animBg="1"/>
      <p:bldP spid="2" grpId="1" animBg="1"/>
      <p:bldP spid="2" grpId="2" animBg="1"/>
      <p:bldP spid="3" grpId="0" animBg="1"/>
      <p:bldP spid="3" grpId="1" animBg="1"/>
      <p:bldP spid="3" grpId="2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icrosoft Build 16:9 Theme 6 Light Template">
  <a:themeElements>
    <a:clrScheme name="Custom 16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8661C5"/>
      </a:accent1>
      <a:accent2>
        <a:srgbClr val="0078D4"/>
      </a:accent2>
      <a:accent3>
        <a:srgbClr val="FFB900"/>
      </a:accent3>
      <a:accent4>
        <a:srgbClr val="D7D2CB"/>
      </a:accent4>
      <a:accent5>
        <a:srgbClr val="FF5C39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Build_2025_16-9 Event-template" id="{C2469FDB-82FA-4F2B-9769-C862A0A29573}" vid="{70371F83-8744-4A35-8E82-4A9015383011}"/>
    </a:ext>
  </a:extLst>
</a:theme>
</file>

<file path=ppt/theme/theme3.xml><?xml version="1.0" encoding="utf-8"?>
<a:theme xmlns:a="http://schemas.openxmlformats.org/drawingml/2006/main" name="1_Microsoft Security Template_Basic">
  <a:themeElements>
    <a:clrScheme name="Security 2024 v3">
      <a:dk1>
        <a:srgbClr val="091F2C"/>
      </a:dk1>
      <a:lt1>
        <a:srgbClr val="FFFFFF"/>
      </a:lt1>
      <a:dk2>
        <a:srgbClr val="091F2C"/>
      </a:dk2>
      <a:lt2>
        <a:srgbClr val="F4F3F5"/>
      </a:lt2>
      <a:accent1>
        <a:srgbClr val="091F2C"/>
      </a:accent1>
      <a:accent2>
        <a:srgbClr val="0078D4"/>
      </a:accent2>
      <a:accent3>
        <a:srgbClr val="8DE971"/>
      </a:accent3>
      <a:accent4>
        <a:srgbClr val="FF5C39"/>
      </a:accent4>
      <a:accent5>
        <a:srgbClr val="F4364C"/>
      </a:accent5>
      <a:accent6>
        <a:srgbClr val="FFB900"/>
      </a:accent6>
      <a:hlink>
        <a:srgbClr val="091F2C"/>
      </a:hlink>
      <a:folHlink>
        <a:srgbClr val="091F2C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85000"/>
            </a:schemeClr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Security PowerPoint template 2024 (Basic)" id="{43BA6A8A-A1FE-4700-92FD-D0160A70FF4B}" vid="{76695FB7-0829-42C8-891D-C2C9114FDCB1}"/>
    </a:ext>
  </a:extLst>
</a:theme>
</file>

<file path=ppt/theme/theme4.xml><?xml version="1.0" encoding="utf-8"?>
<a:theme xmlns:a="http://schemas.openxmlformats.org/drawingml/2006/main" name="Microsoft Build 16:9 Template Light">
  <a:themeElements>
    <a:clrScheme name="Custom 16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8661C5"/>
      </a:accent1>
      <a:accent2>
        <a:srgbClr val="0078D4"/>
      </a:accent2>
      <a:accent3>
        <a:srgbClr val="FFB900"/>
      </a:accent3>
      <a:accent4>
        <a:srgbClr val="D7D2CB"/>
      </a:accent4>
      <a:accent5>
        <a:srgbClr val="FF5C39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Build_2025_16-9 Event-template" id="{C2469FDB-82FA-4F2B-9769-C862A0A29573}" vid="{70371F83-8744-4A35-8E82-4A9015383011}"/>
    </a:ext>
  </a:extLst>
</a:theme>
</file>

<file path=ppt/theme/theme5.xml><?xml version="1.0" encoding="utf-8"?>
<a:theme xmlns:a="http://schemas.openxmlformats.org/drawingml/2006/main" name="1_Commerzbank PowerPoint Template 2022">
  <a:themeElements>
    <a:clrScheme name="Commerzbank">
      <a:dk1>
        <a:srgbClr val="002E3C"/>
      </a:dk1>
      <a:lt1>
        <a:sysClr val="window" lastClr="FFFFFF"/>
      </a:lt1>
      <a:dk2>
        <a:srgbClr val="C3CAC8"/>
      </a:dk2>
      <a:lt2>
        <a:srgbClr val="537173"/>
      </a:lt2>
      <a:accent1>
        <a:srgbClr val="002E3C"/>
      </a:accent1>
      <a:accent2>
        <a:srgbClr val="FFD700"/>
      </a:accent2>
      <a:accent3>
        <a:srgbClr val="3A7E8A"/>
      </a:accent3>
      <a:accent4>
        <a:srgbClr val="9B5C2F"/>
      </a:accent4>
      <a:accent5>
        <a:srgbClr val="93C1B4"/>
      </a:accent5>
      <a:accent6>
        <a:srgbClr val="D6C18B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/>
        </a:defPPr>
      </a:lstStyle>
    </a:txDef>
  </a:objectDefaults>
  <a:extraClrSchemeLst/>
  <a:custClrLst>
    <a:custClr name="Ocean-Petrol">
      <a:srgbClr val="002E3C"/>
    </a:custClr>
    <a:custClr name="Ocean-Petrol-Sand 1">
      <a:srgbClr val="304D4A"/>
    </a:custClr>
    <a:custClr name="Ocean-Petrol-Sand 2">
      <a:srgbClr val="537173"/>
    </a:custClr>
    <a:custClr name="Ocean-Petrol-Sand 3">
      <a:srgbClr val="778F8D"/>
    </a:custClr>
    <a:custClr name="Ocean-Petrol-Sand 4">
      <a:srgbClr val="A0AEAC"/>
    </a:custClr>
    <a:custClr name="Ocean-Petrol-Sand 5">
      <a:srgbClr val="C3CAC8"/>
    </a:custClr>
    <a:custClr name="Ocean-Petrol-Sand 6">
      <a:srgbClr val="E0E0DD"/>
    </a:custClr>
    <a:custClr name="Error">
      <a:srgbClr val="DB000F"/>
    </a:custClr>
    <a:custClr name="Warning">
      <a:srgbClr val="F49300"/>
    </a:custClr>
    <a:custClr name="Success">
      <a:srgbClr val="009E39"/>
    </a:custClr>
    <a:custClr name="Coast">
      <a:srgbClr val="3A7E8A"/>
    </a:custClr>
    <a:custClr name="Mint">
      <a:srgbClr val="93C1B4"/>
    </a:custClr>
    <a:custClr name="Pistachio">
      <a:srgbClr val="D5DBB6"/>
    </a:custClr>
    <a:custClr name="Harvest">
      <a:srgbClr val="D6C18B"/>
    </a:custClr>
    <a:custClr name="Maple">
      <a:srgbClr val="BF925E"/>
    </a:custClr>
    <a:custClr name="Clay">
      <a:srgbClr val="9B5C2F"/>
    </a:custClr>
    <a:custClr name="Sand">
      <a:srgbClr val="EBEAE6"/>
    </a:custClr>
  </a:custClrLst>
  <a:extLst>
    <a:ext uri="{05A4C25C-085E-4340-85A3-A5531E510DB2}">
      <thm15:themeFamily xmlns:thm15="http://schemas.microsoft.com/office/thememl/2012/main" name="Präsentation9" id="{09A211B7-F5BA-4992-B953-CE392F1ADC8A}" vid="{FCA2D610-208F-4A03-9E07-0F9AB74E17D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FE71A6B924FC94981CCAD1A585590D8" ma:contentTypeVersion="27" ma:contentTypeDescription="Crie um novo documento." ma:contentTypeScope="" ma:versionID="8e307a0ecdf7b5450f9053b4b43acef7">
  <xsd:schema xmlns:xsd="http://www.w3.org/2001/XMLSchema" xmlns:xs="http://www.w3.org/2001/XMLSchema" xmlns:p="http://schemas.microsoft.com/office/2006/metadata/properties" xmlns:ns1="http://schemas.microsoft.com/sharepoint/v3" xmlns:ns2="804751ba-60e0-4191-9865-d7e5284c1d69" xmlns:ns3="913b567d-4c83-4181-a45c-f04ce7e1b72e" xmlns:ns4="230e9df3-be65-4c73-a93b-d1236ebd677e" targetNamespace="http://schemas.microsoft.com/office/2006/metadata/properties" ma:root="true" ma:fieldsID="e4f1894524bc7af2217aa75dca2641f1" ns1:_="" ns2:_="" ns3:_="" ns4:_="">
    <xsd:import namespace="http://schemas.microsoft.com/sharepoint/v3"/>
    <xsd:import namespace="804751ba-60e0-4191-9865-d7e5284c1d69"/>
    <xsd:import namespace="913b567d-4c83-4181-a45c-f04ce7e1b72e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Numbe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Time" minOccurs="0"/>
                <xsd:element ref="ns2:MediaServiceSearchProperties" minOccurs="0"/>
                <xsd:element ref="ns2:MediaServiceObjectDetectorVersions" minOccurs="0"/>
                <xsd:element ref="ns2:TranslatedLang" minOccurs="0"/>
                <xsd:element ref="ns2:content" minOccurs="0"/>
                <xsd:element ref="ns2:MediaServiceDocTag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riedades da Política de Conformidade Unificada" ma:hidden="true" ma:internalName="_ip_UnifiedCompliancePolicyProperties" ma:readOnly="false">
      <xsd:simpleType>
        <xsd:restriction base="dms:Note"/>
      </xsd:simpleType>
    </xsd:element>
    <xsd:element name="_ip_UnifiedCompliancePolicyUIAction" ma:index="20" nillable="true" ma:displayName="Ação de Interface do Usuário da Política de Conformidade Unificada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751ba-60e0-4191-9865-d7e5284c1d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hidden="true" ma:internalName="MediaServiceKeyPoints" ma:readOnly="true">
      <xsd:simpleType>
        <xsd:restriction base="dms:Note"/>
      </xsd:simpleType>
    </xsd:element>
    <xsd:element name="MediaServiceOCR" ma:index="17" nillable="true" ma:displayName="Extracted Text" ma:hidden="true" ma:internalName="MediaServiceOCR" ma:readOnly="true">
      <xsd:simpleType>
        <xsd:restriction base="dms:Note"/>
      </xsd:simpleType>
    </xsd:element>
    <xsd:element name="MediaServiceLocation" ma:index="18" nillable="true" ma:displayName="Location" ma:hidden="true" ma:internalName="MediaServiceLocation" ma:readOnly="true">
      <xsd:simpleType>
        <xsd:restriction base="dms:Text"/>
      </xsd:simpleType>
    </xsd:element>
    <xsd:element name="Number" ma:index="21" nillable="true" ma:displayName="Number" ma:format="Dropdown" ma:internalName="Number" ma:percentage="FALSE">
      <xsd:simpleType>
        <xsd:restriction base="dms:Number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Marcações de imagem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TranslatedLang" ma:index="29" nillable="true" ma:displayName="Translated Language" ma:hidden="true" ma:internalName="TranslatedLang" ma:readOnly="true">
      <xsd:simpleType>
        <xsd:restriction base="dms:Text"/>
      </xsd:simpleType>
    </xsd:element>
    <xsd:element name="content" ma:index="30" nillable="true" ma:displayName="content" ma:format="Dropdown" ma:internalName="content">
      <xsd:simpleType>
        <xsd:restriction base="dms:Choice">
          <xsd:enumeration value="Visual Studio"/>
          <xsd:enumeration value="VS Code"/>
          <xsd:enumeration value="GitHub Copilot"/>
          <xsd:enumeration value="Dev Box"/>
          <xsd:enumeration value="Choice 5"/>
        </xsd:restriction>
      </xsd:simpleType>
    </xsd:element>
    <xsd:element name="MediaServiceDocTags" ma:index="31" nillable="true" ma:displayName="MediaServiceDocTags" ma:hidden="true" ma:internalName="MediaServiceDocTags" ma:readOnly="true">
      <xsd:simpleType>
        <xsd:restriction base="dms:Note"/>
      </xsd:simpleType>
    </xsd:element>
    <xsd:element name="MediaServiceBillingMetadata" ma:index="32" nillable="true" ma:displayName="MediaServiceBillingMetadata" ma:hidden="true" ma:internalName="MediaServiceBillingMetadata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3b567d-4c83-4181-a45c-f04ce7e1b72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mpartilhado com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talhes de Compartilhado Com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ae7d3c4e-66c4-4603-a26b-8d6b1e039262}" ma:internalName="TaxCatchAll" ma:showField="CatchAllData" ma:web="913b567d-4c83-4181-a45c-f04ce7e1b72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Tipo de Conteúdo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804751ba-60e0-4191-9865-d7e5284c1d69">
      <Terms xmlns="http://schemas.microsoft.com/office/infopath/2007/PartnerControls"/>
    </lcf76f155ced4ddcb4097134ff3c332f>
    <Number xmlns="804751ba-60e0-4191-9865-d7e5284c1d69" xsi:nil="true"/>
    <TaxCatchAll xmlns="230e9df3-be65-4c73-a93b-d1236ebd677e" xsi:nil="true"/>
    <Time xmlns="804751ba-60e0-4191-9865-d7e5284c1d69" xsi:nil="true"/>
    <content xmlns="804751ba-60e0-4191-9865-d7e5284c1d69" xsi:nil="true"/>
  </documentManagement>
</p:properties>
</file>

<file path=customXml/itemProps1.xml><?xml version="1.0" encoding="utf-8"?>
<ds:datastoreItem xmlns:ds="http://schemas.openxmlformats.org/officeDocument/2006/customXml" ds:itemID="{C55B1EF1-B0AD-41F6-B0E2-8AD577B977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847411-70C2-4A3B-90F7-B2E811E036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04751ba-60e0-4191-9865-d7e5284c1d69"/>
    <ds:schemaRef ds:uri="913b567d-4c83-4181-a45c-f04ce7e1b72e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02C1BF1-E9B2-4327-A98B-E58C092AE95B}">
  <ds:schemaRefs>
    <ds:schemaRef ds:uri="http://schemas.microsoft.com/office/2006/documentManagement/types"/>
    <ds:schemaRef ds:uri="804751ba-60e0-4191-9865-d7e5284c1d69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913b567d-4c83-4181-a45c-f04ce7e1b72e"/>
    <ds:schemaRef ds:uri="http://schemas.microsoft.com/sharepoint/v3"/>
    <ds:schemaRef ds:uri="http://schemas.microsoft.com/office/infopath/2007/PartnerControls"/>
    <ds:schemaRef ds:uri="http://purl.org/dc/terms/"/>
    <ds:schemaRef ds:uri="230e9df3-be65-4c73-a93b-d1236ebd677e"/>
    <ds:schemaRef ds:uri="http://purl.org/dc/dcmitype/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6</Words>
  <Application>Microsoft Office PowerPoint</Application>
  <PresentationFormat>Widescreen</PresentationFormat>
  <Paragraphs>233</Paragraphs>
  <Slides>23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42" baseType="lpstr">
      <vt:lpstr>Aptos</vt:lpstr>
      <vt:lpstr>Aptos Display</vt:lpstr>
      <vt:lpstr>Arial</vt:lpstr>
      <vt:lpstr>Calibri</vt:lpstr>
      <vt:lpstr>Consolas</vt:lpstr>
      <vt:lpstr>Segoe Sans Display</vt:lpstr>
      <vt:lpstr>Segoe Sans Display Semibold</vt:lpstr>
      <vt:lpstr>Segoe UI</vt:lpstr>
      <vt:lpstr>Segoe UI Light</vt:lpstr>
      <vt:lpstr>Segoe UI Semibold</vt:lpstr>
      <vt:lpstr>Segoe UI Variable Display Semib</vt:lpstr>
      <vt:lpstr>Wingdings</vt:lpstr>
      <vt:lpstr>Office Theme</vt:lpstr>
      <vt:lpstr>Microsoft Build 16:9 Theme 6 Light Template</vt:lpstr>
      <vt:lpstr>1_Microsoft Security Template_Basic</vt:lpstr>
      <vt:lpstr>Microsoft Build 16:9 Template Light</vt:lpstr>
      <vt:lpstr>1_Commerzbank PowerPoint Template 2022</vt:lpstr>
      <vt:lpstr>think-cell Slide</vt:lpstr>
      <vt:lpstr>think-cell Folie</vt:lpstr>
      <vt:lpstr>CEO Connections</vt:lpstr>
      <vt:lpstr>Building secure agents with Azure AI Foundry and Microsoft Security </vt:lpstr>
      <vt:lpstr>We are in the era of AI</vt:lpstr>
      <vt:lpstr>Agentic AI is the next wave</vt:lpstr>
      <vt:lpstr>The growing AI trust gap</vt:lpstr>
      <vt:lpstr>AI risks</vt:lpstr>
      <vt:lpstr>Agent malfunctions</vt:lpstr>
      <vt:lpstr>Agent misuses</vt:lpstr>
      <vt:lpstr>Developers</vt:lpstr>
      <vt:lpstr>Developers</vt:lpstr>
      <vt:lpstr>Trust is a team sport</vt:lpstr>
      <vt:lpstr>Trust is a team sport</vt:lpstr>
      <vt:lpstr>Developers</vt:lpstr>
      <vt:lpstr>Guardrails &amp; controls</vt:lpstr>
      <vt:lpstr>Prompt shields</vt:lpstr>
      <vt:lpstr>Task adherence</vt:lpstr>
      <vt:lpstr>Developers</vt:lpstr>
      <vt:lpstr>Evaluators</vt:lpstr>
      <vt:lpstr>Evaluations for agents</vt:lpstr>
      <vt:lpstr>Developers</vt:lpstr>
      <vt:lpstr>Microsoft Entra Agent ID</vt:lpstr>
      <vt:lpstr>Microsoft Purview + Foundry</vt:lpstr>
      <vt:lpstr>Microsoft Defender + Foundry</vt:lpstr>
    </vt:vector>
  </TitlesOfParts>
  <Company>Microsoft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secure agents with Azure AI Foundry and Microsoft Security </dc:title>
  <dc:creator>Chhavi Nijhawan;Sarah Bird;Neta Haiby;Mehrnoosh Sameki</dc:creator>
  <cp:keywords>Build 2025</cp:keywords>
  <cp:lastModifiedBy>Ioana Tanase</cp:lastModifiedBy>
  <cp:revision>3</cp:revision>
  <dcterms:created xsi:type="dcterms:W3CDTF">2025-03-31T15:54:59Z</dcterms:created>
  <dcterms:modified xsi:type="dcterms:W3CDTF">2025-05-23T11:2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E71A6B924FC94981CCAD1A585590D8</vt:lpwstr>
  </property>
  <property fmtid="{D5CDD505-2E9C-101B-9397-08002B2CF9AE}" pid="3" name="MediaServiceImageTags">
    <vt:lpwstr/>
  </property>
</Properties>
</file>